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58" r:id="rId2"/>
    <p:sldId id="287" r:id="rId3"/>
    <p:sldId id="289" r:id="rId4"/>
    <p:sldId id="286" r:id="rId5"/>
    <p:sldId id="290" r:id="rId6"/>
    <p:sldId id="291" r:id="rId7"/>
    <p:sldId id="292" r:id="rId8"/>
    <p:sldId id="288" r:id="rId9"/>
    <p:sldId id="261" r:id="rId10"/>
    <p:sldId id="314" r:id="rId11"/>
    <p:sldId id="330" r:id="rId12"/>
    <p:sldId id="308" r:id="rId13"/>
    <p:sldId id="307" r:id="rId14"/>
    <p:sldId id="309" r:id="rId15"/>
    <p:sldId id="304" r:id="rId16"/>
    <p:sldId id="311" r:id="rId17"/>
    <p:sldId id="285" r:id="rId18"/>
    <p:sldId id="265" r:id="rId19"/>
    <p:sldId id="281" r:id="rId20"/>
    <p:sldId id="331" r:id="rId21"/>
    <p:sldId id="272" r:id="rId22"/>
    <p:sldId id="269" r:id="rId23"/>
    <p:sldId id="271" r:id="rId24"/>
    <p:sldId id="329" r:id="rId25"/>
    <p:sldId id="312" r:id="rId26"/>
    <p:sldId id="327" r:id="rId27"/>
    <p:sldId id="328" r:id="rId28"/>
    <p:sldId id="326" r:id="rId29"/>
    <p:sldId id="324" r:id="rId30"/>
    <p:sldId id="277" r:id="rId31"/>
    <p:sldId id="274" r:id="rId32"/>
    <p:sldId id="273" r:id="rId33"/>
    <p:sldId id="266" r:id="rId34"/>
    <p:sldId id="270" r:id="rId35"/>
    <p:sldId id="268" r:id="rId36"/>
    <p:sldId id="267" r:id="rId37"/>
    <p:sldId id="317" r:id="rId38"/>
    <p:sldId id="318" r:id="rId39"/>
    <p:sldId id="319" r:id="rId40"/>
    <p:sldId id="320" r:id="rId41"/>
    <p:sldId id="321" r:id="rId42"/>
    <p:sldId id="322" r:id="rId43"/>
    <p:sldId id="323" r:id="rId44"/>
    <p:sldId id="275" r:id="rId45"/>
    <p:sldId id="313" r:id="rId46"/>
  </p:sldIdLst>
  <p:sldSz cx="9144000" cy="6858000" type="screen4x3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96"/>
    <p:restoredTop sz="94664"/>
  </p:normalViewPr>
  <p:slideViewPr>
    <p:cSldViewPr snapToGrid="0" showGuides="1">
      <p:cViewPr>
        <p:scale>
          <a:sx n="110" d="100"/>
          <a:sy n="110" d="100"/>
        </p:scale>
        <p:origin x="1344" y="47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600007376070219E-3"/>
          <c:y val="8.5963703105903386E-2"/>
          <c:w val="0.96562499999999996"/>
          <c:h val="0.8566342394679057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18</c:f>
              <c:numCache>
                <c:formatCode>General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xVal>
          <c:yVal>
            <c:numRef>
              <c:f>Sheet1!$B$2:$B$17</c:f>
              <c:numCache>
                <c:formatCode>General</c:formatCode>
                <c:ptCount val="16"/>
                <c:pt idx="0">
                  <c:v>1.73</c:v>
                </c:pt>
                <c:pt idx="1">
                  <c:v>1.91</c:v>
                </c:pt>
                <c:pt idx="2">
                  <c:v>2.1</c:v>
                </c:pt>
                <c:pt idx="3">
                  <c:v>2</c:v>
                </c:pt>
                <c:pt idx="4">
                  <c:v>5.5831695092243629</c:v>
                </c:pt>
                <c:pt idx="5">
                  <c:v>-1.22</c:v>
                </c:pt>
                <c:pt idx="6">
                  <c:v>-0.8</c:v>
                </c:pt>
                <c:pt idx="7">
                  <c:v>-0.7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15B-6347-AC1F-FD9A95464F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09174447"/>
        <c:axId val="1833900559"/>
      </c:scatterChart>
      <c:valAx>
        <c:axId val="1909174447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33900559"/>
        <c:crosses val="autoZero"/>
        <c:crossBetween val="midCat"/>
      </c:valAx>
      <c:valAx>
        <c:axId val="1833900559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909174447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3/10/2019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FBC691-BA12-974F-941C-8E4ADD4C0EDD}" type="datetimeFigureOut">
              <a:rPr lang="sv-SE" smtClean="0"/>
              <a:t>2019-10-13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915AF-33D8-5744-8156-A20134AB326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60893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D111033-A0AF-6544-8C8F-A8FDFF89BE0C}" type="datetime1">
              <a:rPr lang="sv-SE" smtClean="0"/>
              <a:t>2019-10-1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040301C3-0A43-DD42-ADD9-551BDD359730}" type="datetime1">
              <a:rPr lang="sv-SE" smtClean="0"/>
              <a:t>2019-10-1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555856" y="6566879"/>
            <a:ext cx="531863" cy="365125"/>
          </a:xfrm>
        </p:spPr>
        <p:txBody>
          <a:bodyPr/>
          <a:lstStyle>
            <a:lvl1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463284"/>
            <a:ext cx="6305550" cy="365125"/>
          </a:xfrm>
        </p:spPr>
        <p:txBody>
          <a:bodyPr lIns="0" tIns="0" rIns="0" bIns="0" anchor="t"/>
          <a:lstStyle>
            <a:lvl1pPr algn="ctr">
              <a:lnSpc>
                <a:spcPts val="900"/>
              </a:lnSpc>
              <a:defRPr sz="1600" b="0" cap="none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506D2096-0CD9-494F-825C-79F6CC85A7C1}" type="datetime1">
              <a:rPr lang="sv-SE" smtClean="0"/>
              <a:t>2019-10-1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79D72585-E134-924E-8B50-E9587C0B2832}" type="datetime1">
              <a:rPr lang="sv-SE" smtClean="0"/>
              <a:t>2019-10-1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AE30A80D-1134-5A48-8F90-EF7EDE2231E4}" type="datetime1">
              <a:rPr lang="sv-SE" smtClean="0"/>
              <a:t>2019-10-1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97F0F542-CDFF-8846-A578-9F087181F330}" type="datetime1">
              <a:rPr lang="sv-SE" smtClean="0"/>
              <a:t>2019-10-1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A0C7EE4-E630-7A48-ACCE-79B17B147023}" type="datetime1">
              <a:rPr lang="sv-SE" smtClean="0"/>
              <a:t>2019-10-1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4140F1D7-DD2D-2A4D-867A-D5967C03BA49}" type="datetime1">
              <a:rPr lang="sv-SE" smtClean="0"/>
              <a:t>2019-10-13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6292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49.png"/><Relationship Id="rId7" Type="http://schemas.openxmlformats.org/officeDocument/2006/relationships/image" Target="../media/image2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79BF0F3-8C2C-5940-A398-FDF90DCB5A09}"/>
              </a:ext>
            </a:extLst>
          </p:cNvPr>
          <p:cNvSpPr/>
          <p:nvPr/>
        </p:nvSpPr>
        <p:spPr>
          <a:xfrm>
            <a:off x="2194560" y="4328808"/>
            <a:ext cx="5120640" cy="2185200"/>
          </a:xfrm>
          <a:prstGeom prst="roundRect">
            <a:avLst>
              <a:gd name="adj" fmla="val 550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165B1A5-A48A-F042-B05E-773C058000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4175" b="13332"/>
          <a:stretch/>
        </p:blipFill>
        <p:spPr>
          <a:xfrm>
            <a:off x="2315048" y="4459386"/>
            <a:ext cx="4886941" cy="1923993"/>
          </a:xfrm>
          <a:prstGeom prst="rect">
            <a:avLst/>
          </a:prstGeom>
        </p:spPr>
      </p:pic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68185" y="734458"/>
            <a:ext cx="7393513" cy="1043684"/>
          </a:xfrm>
        </p:spPr>
        <p:txBody>
          <a:bodyPr>
            <a:normAutofit/>
          </a:bodyPr>
          <a:lstStyle/>
          <a:p>
            <a:r>
              <a:rPr lang="en" sz="3200" dirty="0"/>
              <a:t>Internet clouds are (also) unpredictable!</a:t>
            </a:r>
            <a:endParaRPr lang="sv-SE" sz="3200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67963" y="1850148"/>
            <a:ext cx="6987075" cy="1694237"/>
          </a:xfrm>
        </p:spPr>
        <p:txBody>
          <a:bodyPr>
            <a:normAutofit/>
          </a:bodyPr>
          <a:lstStyle/>
          <a:p>
            <a:r>
              <a:rPr lang="sv-SE" dirty="0"/>
              <a:t>A </a:t>
            </a:r>
            <a:r>
              <a:rPr lang="sv-SE" dirty="0" err="1"/>
              <a:t>study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b="1" dirty="0" err="1"/>
              <a:t>flow</a:t>
            </a:r>
            <a:r>
              <a:rPr lang="sv-SE" b="1" dirty="0"/>
              <a:t> </a:t>
            </a:r>
            <a:r>
              <a:rPr lang="sv-SE" b="1" dirty="0" err="1"/>
              <a:t>rerouting</a:t>
            </a:r>
            <a:r>
              <a:rPr lang="sv-SE" b="1" dirty="0"/>
              <a:t> </a:t>
            </a:r>
            <a:r>
              <a:rPr lang="sv-SE" dirty="0"/>
              <a:t>and </a:t>
            </a:r>
            <a:r>
              <a:rPr lang="sv-SE" b="1" dirty="0" err="1"/>
              <a:t>latency</a:t>
            </a:r>
            <a:r>
              <a:rPr lang="sv-SE" b="1" dirty="0"/>
              <a:t> variations</a:t>
            </a:r>
            <a:r>
              <a:rPr lang="sv-SE" dirty="0"/>
              <a:t> </a:t>
            </a:r>
            <a:r>
              <a:rPr lang="sv-SE" dirty="0" err="1"/>
              <a:t>across</a:t>
            </a:r>
            <a:r>
              <a:rPr lang="sv-SE" dirty="0"/>
              <a:t> the </a:t>
            </a:r>
            <a:r>
              <a:rPr lang="sv-SE" dirty="0" err="1"/>
              <a:t>largest</a:t>
            </a:r>
            <a:r>
              <a:rPr lang="sv-SE" dirty="0"/>
              <a:t> Cloud </a:t>
            </a:r>
            <a:r>
              <a:rPr lang="sv-SE" dirty="0" err="1"/>
              <a:t>network</a:t>
            </a:r>
            <a:r>
              <a:rPr lang="sv-SE" dirty="0"/>
              <a:t> </a:t>
            </a:r>
            <a:r>
              <a:rPr lang="sv-SE" dirty="0" err="1"/>
              <a:t>worldwide</a:t>
            </a:r>
            <a:endParaRPr lang="sv-SE" dirty="0"/>
          </a:p>
        </p:txBody>
      </p:sp>
      <p:sp>
        <p:nvSpPr>
          <p:cNvPr id="7" name="Underrubrik 5">
            <a:extLst>
              <a:ext uri="{FF2B5EF4-FFF2-40B4-BE49-F238E27FC236}">
                <a16:creationId xmlns:a16="http://schemas.microsoft.com/office/drawing/2014/main" id="{CD4BD9A3-2E05-E946-8970-55FFE3D9C185}"/>
              </a:ext>
            </a:extLst>
          </p:cNvPr>
          <p:cNvSpPr txBox="1">
            <a:spLocks/>
          </p:cNvSpPr>
          <p:nvPr/>
        </p:nvSpPr>
        <p:spPr bwMode="gray">
          <a:xfrm>
            <a:off x="822961" y="2888852"/>
            <a:ext cx="7729562" cy="16942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b="1" dirty="0"/>
              <a:t>Marco Chiesa</a:t>
            </a:r>
            <a:br>
              <a:rPr lang="sv-SE" b="1" dirty="0"/>
            </a:br>
            <a:r>
              <a:rPr lang="sv-SE" sz="1600" dirty="0"/>
              <a:t>KTH Royal </a:t>
            </a:r>
            <a:r>
              <a:rPr lang="sv-SE" sz="1600" dirty="0" err="1"/>
              <a:t>Institute</a:t>
            </a:r>
            <a:r>
              <a:rPr lang="sv-SE" sz="1600" dirty="0"/>
              <a:t> </a:t>
            </a:r>
            <a:r>
              <a:rPr lang="sv-SE" sz="1600" dirty="0" err="1"/>
              <a:t>of</a:t>
            </a:r>
            <a:r>
              <a:rPr lang="sv-SE" sz="1600" dirty="0"/>
              <a:t> </a:t>
            </a:r>
            <a:r>
              <a:rPr lang="sv-SE" sz="1600" dirty="0" err="1"/>
              <a:t>Technology</a:t>
            </a:r>
            <a:endParaRPr lang="sv-S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986A1B-1CED-A348-8742-9323BC9F6FEB}"/>
              </a:ext>
            </a:extLst>
          </p:cNvPr>
          <p:cNvSpPr txBox="1"/>
          <p:nvPr/>
        </p:nvSpPr>
        <p:spPr>
          <a:xfrm>
            <a:off x="101276" y="3674963"/>
            <a:ext cx="87793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Joint </a:t>
            </a:r>
            <a:r>
              <a:rPr lang="sv-SE" sz="1400" b="1" dirty="0" err="1">
                <a:solidFill>
                  <a:schemeClr val="bg1"/>
                </a:solidFill>
              </a:rPr>
              <a:t>work</a:t>
            </a:r>
            <a:r>
              <a:rPr lang="sv-SE" sz="1400" b="1" dirty="0">
                <a:solidFill>
                  <a:schemeClr val="bg1"/>
                </a:solidFill>
              </a:rPr>
              <a:t> </a:t>
            </a:r>
            <a:r>
              <a:rPr lang="sv-SE" sz="1400" b="1" dirty="0" err="1">
                <a:solidFill>
                  <a:schemeClr val="bg1"/>
                </a:solidFill>
              </a:rPr>
              <a:t>with</a:t>
            </a:r>
            <a:r>
              <a:rPr lang="sv-SE" sz="1400" b="1" dirty="0">
                <a:solidFill>
                  <a:schemeClr val="bg1"/>
                </a:solidFill>
              </a:rPr>
              <a:t>: </a:t>
            </a:r>
            <a:r>
              <a:rPr lang="sv-SE" sz="1400" dirty="0" err="1">
                <a:solidFill>
                  <a:schemeClr val="bg1"/>
                </a:solidFill>
              </a:rPr>
              <a:t>Waleed</a:t>
            </a:r>
            <a:r>
              <a:rPr lang="sv-SE" sz="1400" dirty="0">
                <a:solidFill>
                  <a:schemeClr val="bg1"/>
                </a:solidFill>
              </a:rPr>
              <a:t> Reda</a:t>
            </a:r>
            <a:r>
              <a:rPr lang="sv-SE" sz="1400" b="1" dirty="0">
                <a:solidFill>
                  <a:schemeClr val="bg1"/>
                </a:solidFill>
              </a:rPr>
              <a:t>, </a:t>
            </a:r>
            <a:r>
              <a:rPr lang="sv-SE" sz="1400" dirty="0" err="1">
                <a:solidFill>
                  <a:schemeClr val="bg1"/>
                </a:solidFill>
              </a:rPr>
              <a:t>Kirill</a:t>
            </a:r>
            <a:r>
              <a:rPr lang="sv-SE" sz="1400" dirty="0">
                <a:solidFill>
                  <a:schemeClr val="bg1"/>
                </a:solidFill>
              </a:rPr>
              <a:t> Bogdanov</a:t>
            </a:r>
            <a:r>
              <a:rPr lang="sv-SE" sz="1400" b="1" dirty="0">
                <a:solidFill>
                  <a:schemeClr val="bg1"/>
                </a:solidFill>
              </a:rPr>
              <a:t>,</a:t>
            </a:r>
            <a:r>
              <a:rPr lang="sv-SE" sz="1400" dirty="0">
                <a:solidFill>
                  <a:schemeClr val="bg1"/>
                </a:solidFill>
              </a:rPr>
              <a:t> </a:t>
            </a:r>
            <a:br>
              <a:rPr lang="sv-SE" sz="14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Alexandros </a:t>
            </a:r>
            <a:r>
              <a:rPr lang="sv-SE" sz="1400" dirty="0" err="1">
                <a:solidFill>
                  <a:schemeClr val="bg1"/>
                </a:solidFill>
              </a:rPr>
              <a:t>Milolidakis</a:t>
            </a:r>
            <a:r>
              <a:rPr lang="sv-SE" sz="1400" b="1" dirty="0">
                <a:solidFill>
                  <a:schemeClr val="bg1"/>
                </a:solidFill>
              </a:rPr>
              <a:t>,</a:t>
            </a:r>
            <a:r>
              <a:rPr lang="sv-SE" sz="1400" dirty="0">
                <a:solidFill>
                  <a:schemeClr val="bg1"/>
                </a:solidFill>
              </a:rPr>
              <a:t> Gerald Q Maguire Jr</a:t>
            </a:r>
            <a:r>
              <a:rPr lang="sv-SE" sz="1400" b="1" dirty="0">
                <a:solidFill>
                  <a:schemeClr val="bg1"/>
                </a:solidFill>
              </a:rPr>
              <a:t>,</a:t>
            </a:r>
            <a:r>
              <a:rPr lang="sv-SE" sz="1400" dirty="0">
                <a:solidFill>
                  <a:schemeClr val="bg1"/>
                </a:solidFill>
              </a:rPr>
              <a:t> Dejan </a:t>
            </a:r>
            <a:r>
              <a:rPr lang="sv-SE" sz="1400" dirty="0" err="1">
                <a:solidFill>
                  <a:schemeClr val="bg1"/>
                </a:solidFill>
              </a:rPr>
              <a:t>Kostic</a:t>
            </a:r>
            <a:r>
              <a:rPr lang="sv-SE" sz="14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DCDBB6-E72D-A34C-8D70-34FE3EF79640}"/>
              </a:ext>
            </a:extLst>
          </p:cNvPr>
          <p:cNvSpPr txBox="1"/>
          <p:nvPr/>
        </p:nvSpPr>
        <p:spPr>
          <a:xfrm>
            <a:off x="298043" y="6513957"/>
            <a:ext cx="87793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sv-SE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00060E9-A769-9645-992D-E38F4FC202E6}"/>
              </a:ext>
            </a:extLst>
          </p:cNvPr>
          <p:cNvSpPr txBox="1"/>
          <p:nvPr/>
        </p:nvSpPr>
        <p:spPr>
          <a:xfrm>
            <a:off x="298043" y="6487260"/>
            <a:ext cx="87793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b="1" dirty="0" err="1">
                <a:solidFill>
                  <a:schemeClr val="bg1"/>
                </a:solidFill>
              </a:rPr>
              <a:t>Thanks</a:t>
            </a:r>
            <a:r>
              <a:rPr lang="sv-SE" sz="1400" b="1" dirty="0">
                <a:solidFill>
                  <a:schemeClr val="bg1"/>
                </a:solidFill>
              </a:rPr>
              <a:t> to the RACI </a:t>
            </a:r>
            <a:r>
              <a:rPr lang="sv-SE" sz="1400" b="1" dirty="0" err="1">
                <a:solidFill>
                  <a:schemeClr val="bg1"/>
                </a:solidFill>
              </a:rPr>
              <a:t>initiative</a:t>
            </a:r>
            <a:r>
              <a:rPr lang="sv-SE" sz="1400" b="1" dirty="0">
                <a:solidFill>
                  <a:schemeClr val="bg1"/>
                </a:solidFill>
              </a:rPr>
              <a:t>!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3CF0D6-0225-EB4A-A0D6-03C5FE19B7A1}"/>
              </a:ext>
            </a:extLst>
          </p:cNvPr>
          <p:cNvCxnSpPr>
            <a:cxnSpLocks/>
          </p:cNvCxnSpPr>
          <p:nvPr/>
        </p:nvCxnSpPr>
        <p:spPr>
          <a:xfrm flipH="1">
            <a:off x="622544" y="2812753"/>
            <a:ext cx="4505041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BE639C-157B-114C-B20C-89D4842BF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41B966A-83AD-9347-8E71-3CC4B3A19268}"/>
                  </a:ext>
                </a:extLst>
              </p:cNvPr>
              <p:cNvSpPr txBox="1"/>
              <p:nvPr/>
            </p:nvSpPr>
            <p:spPr>
              <a:xfrm>
                <a:off x="2553025" y="1859089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41B966A-83AD-9347-8E71-3CC4B3A192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3025" y="1859089"/>
                <a:ext cx="516153" cy="414088"/>
              </a:xfrm>
              <a:prstGeom prst="rect">
                <a:avLst/>
              </a:prstGeom>
              <a:blipFill>
                <a:blip r:embed="rId2"/>
                <a:stretch>
                  <a:fillRect l="-47619" t="-108824" r="-2619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481188C-3853-B343-9A64-F4DDF2F6EF8E}"/>
                  </a:ext>
                </a:extLst>
              </p:cNvPr>
              <p:cNvSpPr txBox="1"/>
              <p:nvPr/>
            </p:nvSpPr>
            <p:spPr>
              <a:xfrm>
                <a:off x="2957625" y="2411302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accent3"/>
                  </a:solidFill>
                </a:endParaRPr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481188C-3853-B343-9A64-F4DDF2F6EF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7625" y="2411302"/>
                <a:ext cx="516153" cy="414088"/>
              </a:xfrm>
              <a:prstGeom prst="rect">
                <a:avLst/>
              </a:prstGeom>
              <a:blipFill>
                <a:blip r:embed="rId3"/>
                <a:stretch>
                  <a:fillRect l="-47619" t="-112121" r="-26190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3CA864-7358-1F44-BF82-24522591B044}"/>
                  </a:ext>
                </a:extLst>
              </p:cNvPr>
              <p:cNvSpPr txBox="1"/>
              <p:nvPr/>
            </p:nvSpPr>
            <p:spPr>
              <a:xfrm>
                <a:off x="2518849" y="3086748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accent2"/>
                  </a:solidFill>
                </a:endParaRPr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3CA864-7358-1F44-BF82-24522591B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8849" y="3086748"/>
                <a:ext cx="516153" cy="412485"/>
              </a:xfrm>
              <a:prstGeom prst="rect">
                <a:avLst/>
              </a:prstGeom>
              <a:blipFill>
                <a:blip r:embed="rId4"/>
                <a:stretch>
                  <a:fillRect l="-45238" t="-108824" r="-26190" b="-1617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ight Arrow 21">
            <a:extLst>
              <a:ext uri="{FF2B5EF4-FFF2-40B4-BE49-F238E27FC236}">
                <a16:creationId xmlns:a16="http://schemas.microsoft.com/office/drawing/2014/main" id="{716F4FFB-A5C0-144E-917D-8A3FE300B8E9}"/>
              </a:ext>
            </a:extLst>
          </p:cNvPr>
          <p:cNvSpPr/>
          <p:nvPr/>
        </p:nvSpPr>
        <p:spPr>
          <a:xfrm>
            <a:off x="622544" y="2553563"/>
            <a:ext cx="1913900" cy="228369"/>
          </a:xfrm>
          <a:prstGeom prst="rightArrow">
            <a:avLst>
              <a:gd name="adj1" fmla="val 30275"/>
              <a:gd name="adj2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4529613-A7F1-FC4C-B470-D8EA80BBB6C1}"/>
              </a:ext>
            </a:extLst>
          </p:cNvPr>
          <p:cNvGraphicFramePr>
            <a:graphicFrameLocks noGrp="1"/>
          </p:cNvGraphicFramePr>
          <p:nvPr/>
        </p:nvGraphicFramePr>
        <p:xfrm>
          <a:off x="6508124" y="3034293"/>
          <a:ext cx="2408932" cy="28196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4466">
                  <a:extLst>
                    <a:ext uri="{9D8B030D-6E8A-4147-A177-3AD203B41FA5}">
                      <a16:colId xmlns:a16="http://schemas.microsoft.com/office/drawing/2014/main" val="3069747376"/>
                    </a:ext>
                  </a:extLst>
                </a:gridCol>
                <a:gridCol w="1204466">
                  <a:extLst>
                    <a:ext uri="{9D8B030D-6E8A-4147-A177-3AD203B41FA5}">
                      <a16:colId xmlns:a16="http://schemas.microsoft.com/office/drawing/2014/main" val="767082663"/>
                    </a:ext>
                  </a:extLst>
                </a:gridCol>
              </a:tblGrid>
              <a:tr h="40280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index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nexthop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1882131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125659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271267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040512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930216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5252781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710425"/>
                  </a:ext>
                </a:extLst>
              </a:tr>
            </a:tbl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BB017E0B-B764-3D42-8230-5605FB33F1F6}"/>
              </a:ext>
            </a:extLst>
          </p:cNvPr>
          <p:cNvSpPr txBox="1"/>
          <p:nvPr/>
        </p:nvSpPr>
        <p:spPr>
          <a:xfrm>
            <a:off x="600255" y="2307951"/>
            <a:ext cx="1999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CP connection flow</a:t>
            </a:r>
          </a:p>
        </p:txBody>
      </p: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3EB2184E-0E22-6043-B472-AC6F2C2F4A9A}"/>
              </a:ext>
            </a:extLst>
          </p:cNvPr>
          <p:cNvGraphicFramePr>
            <a:graphicFrameLocks noGrp="1"/>
          </p:cNvGraphicFramePr>
          <p:nvPr/>
        </p:nvGraphicFramePr>
        <p:xfrm>
          <a:off x="897083" y="4096102"/>
          <a:ext cx="1264501" cy="113228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264501">
                  <a:extLst>
                    <a:ext uri="{9D8B030D-6E8A-4147-A177-3AD203B41FA5}">
                      <a16:colId xmlns:a16="http://schemas.microsoft.com/office/drawing/2014/main" val="1917681482"/>
                    </a:ext>
                  </a:extLst>
                </a:gridCol>
              </a:tblGrid>
              <a:tr h="28193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P </a:t>
                      </a:r>
                      <a:r>
                        <a:rPr lang="en-US" sz="1800" b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c</a:t>
                      </a:r>
                      <a:r>
                        <a:rPr lang="en-US" sz="18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VIP</a:t>
                      </a:r>
                    </a:p>
                  </a:txBody>
                  <a:tcPr marL="54000" marR="0" marT="4680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58911"/>
                  </a:ext>
                </a:extLst>
              </a:tr>
              <a:tr h="398603">
                <a:tc>
                  <a:txBody>
                    <a:bodyPr/>
                    <a:lstStyle/>
                    <a:p>
                      <a:pPr marL="0" marR="0" lvl="0" indent="0" algn="l" defTabSz="4273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CP </a:t>
                      </a:r>
                      <a:r>
                        <a:rPr lang="en-US" sz="1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c</a:t>
                      </a:r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st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0" marR="0" marT="4680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386892"/>
                  </a:ext>
                </a:extLst>
              </a:tr>
              <a:tr h="281931">
                <a:tc>
                  <a:txBody>
                    <a:bodyPr/>
                    <a:lstStyle/>
                    <a:p>
                      <a:pPr marL="0" marR="0" lvl="0" indent="0" algn="l" defTabSz="4273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yload</a:t>
                      </a:r>
                    </a:p>
                  </a:txBody>
                  <a:tcPr marL="54000" marR="0" marT="468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7830686"/>
                  </a:ext>
                </a:extLst>
              </a:tr>
            </a:tbl>
          </a:graphicData>
        </a:graphic>
      </p:graphicFrame>
      <p:sp>
        <p:nvSpPr>
          <p:cNvPr id="33" name="Right Brace 32">
            <a:extLst>
              <a:ext uri="{FF2B5EF4-FFF2-40B4-BE49-F238E27FC236}">
                <a16:creationId xmlns:a16="http://schemas.microsoft.com/office/drawing/2014/main" id="{F76E0F49-A815-2541-B71B-0CE0A5626045}"/>
              </a:ext>
            </a:extLst>
          </p:cNvPr>
          <p:cNvSpPr/>
          <p:nvPr/>
        </p:nvSpPr>
        <p:spPr>
          <a:xfrm>
            <a:off x="2202821" y="4092968"/>
            <a:ext cx="210133" cy="785068"/>
          </a:xfrm>
          <a:prstGeom prst="rightBrac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8251" tIns="49125" rIns="98251" bIns="491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34"/>
          </a:p>
        </p:txBody>
      </p:sp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153BF606-AFF5-0647-950C-E257C4B3853F}"/>
              </a:ext>
            </a:extLst>
          </p:cNvPr>
          <p:cNvGraphicFramePr>
            <a:graphicFrameLocks noGrp="1"/>
          </p:cNvGraphicFramePr>
          <p:nvPr/>
        </p:nvGraphicFramePr>
        <p:xfrm>
          <a:off x="3895344" y="4286260"/>
          <a:ext cx="939265" cy="3668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39265">
                  <a:extLst>
                    <a:ext uri="{9D8B030D-6E8A-4147-A177-3AD203B41FA5}">
                      <a16:colId xmlns:a16="http://schemas.microsoft.com/office/drawing/2014/main" val="1917681482"/>
                    </a:ext>
                  </a:extLst>
                </a:gridCol>
              </a:tblGrid>
              <a:tr h="28193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h % 6</a:t>
                      </a:r>
                      <a:endParaRPr lang="en-US" sz="18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0" marR="0" marT="468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58911"/>
                  </a:ext>
                </a:extLst>
              </a:tr>
            </a:tbl>
          </a:graphicData>
        </a:graphic>
      </p:graphicFrame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C565CA7-A24C-6946-A591-DD9F1F7D7E09}"/>
              </a:ext>
            </a:extLst>
          </p:cNvPr>
          <p:cNvCxnSpPr/>
          <p:nvPr/>
        </p:nvCxnSpPr>
        <p:spPr>
          <a:xfrm>
            <a:off x="2478024" y="4480560"/>
            <a:ext cx="1298448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eform 44">
            <a:extLst>
              <a:ext uri="{FF2B5EF4-FFF2-40B4-BE49-F238E27FC236}">
                <a16:creationId xmlns:a16="http://schemas.microsoft.com/office/drawing/2014/main" id="{3F61D116-6518-F442-8621-8A417B710CE4}"/>
              </a:ext>
            </a:extLst>
          </p:cNvPr>
          <p:cNvSpPr/>
          <p:nvPr/>
        </p:nvSpPr>
        <p:spPr>
          <a:xfrm>
            <a:off x="4874724" y="4469681"/>
            <a:ext cx="1580940" cy="408356"/>
          </a:xfrm>
          <a:custGeom>
            <a:avLst/>
            <a:gdLst>
              <a:gd name="connsiteX0" fmla="*/ 0 w 1271016"/>
              <a:gd name="connsiteY0" fmla="*/ 3950 h 2253374"/>
              <a:gd name="connsiteX1" fmla="*/ 384048 w 1271016"/>
              <a:gd name="connsiteY1" fmla="*/ 223406 h 2253374"/>
              <a:gd name="connsiteX2" fmla="*/ 557784 w 1271016"/>
              <a:gd name="connsiteY2" fmla="*/ 1439558 h 2253374"/>
              <a:gd name="connsiteX3" fmla="*/ 768096 w 1271016"/>
              <a:gd name="connsiteY3" fmla="*/ 2088782 h 2253374"/>
              <a:gd name="connsiteX4" fmla="*/ 1271016 w 1271016"/>
              <a:gd name="connsiteY4" fmla="*/ 2253374 h 2253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1016" h="2253374">
                <a:moveTo>
                  <a:pt x="0" y="3950"/>
                </a:moveTo>
                <a:cubicBezTo>
                  <a:pt x="145542" y="-5956"/>
                  <a:pt x="291084" y="-15862"/>
                  <a:pt x="384048" y="223406"/>
                </a:cubicBezTo>
                <a:cubicBezTo>
                  <a:pt x="477012" y="462674"/>
                  <a:pt x="493776" y="1128662"/>
                  <a:pt x="557784" y="1439558"/>
                </a:cubicBezTo>
                <a:cubicBezTo>
                  <a:pt x="621792" y="1750454"/>
                  <a:pt x="649224" y="1953146"/>
                  <a:pt x="768096" y="2088782"/>
                </a:cubicBezTo>
                <a:cubicBezTo>
                  <a:pt x="886968" y="2224418"/>
                  <a:pt x="1078992" y="2238896"/>
                  <a:pt x="1271016" y="2253374"/>
                </a:cubicBezTo>
              </a:path>
            </a:pathLst>
          </a:custGeom>
          <a:ln w="25400">
            <a:tailEnd type="arrow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itle 3">
            <a:extLst>
              <a:ext uri="{FF2B5EF4-FFF2-40B4-BE49-F238E27FC236}">
                <a16:creationId xmlns:a16="http://schemas.microsoft.com/office/drawing/2014/main" id="{DC301B1B-DE58-DC45-8044-0788EF7D8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404870"/>
            <a:ext cx="7297806" cy="888008"/>
          </a:xfrm>
        </p:spPr>
        <p:txBody>
          <a:bodyPr/>
          <a:lstStyle/>
          <a:p>
            <a:r>
              <a:rPr lang="en-US" dirty="0"/>
              <a:t>Stateless hash-based traffic splitting</a:t>
            </a:r>
            <a:r>
              <a:rPr lang="en-US" dirty="0">
                <a:solidFill>
                  <a:schemeClr val="bg1"/>
                </a:solidFill>
              </a:rPr>
              <a:t>: packets belonging to the same connection may be rerouted when traffic splitting ratios are modified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153E347-C0EE-C54D-9320-B30D8E0F5A4B}"/>
              </a:ext>
            </a:extLst>
          </p:cNvPr>
          <p:cNvSpPr/>
          <p:nvPr/>
        </p:nvSpPr>
        <p:spPr>
          <a:xfrm>
            <a:off x="2801073" y="1739685"/>
            <a:ext cx="2326512" cy="1061388"/>
          </a:xfrm>
          <a:custGeom>
            <a:avLst/>
            <a:gdLst>
              <a:gd name="connsiteX0" fmla="*/ 0 w 2326512"/>
              <a:gd name="connsiteY0" fmla="*/ 1028810 h 1028810"/>
              <a:gd name="connsiteX1" fmla="*/ 324092 w 2326512"/>
              <a:gd name="connsiteY1" fmla="*/ 160709 h 1028810"/>
              <a:gd name="connsiteX2" fmla="*/ 1770927 w 2326512"/>
              <a:gd name="connsiteY2" fmla="*/ 79686 h 1028810"/>
              <a:gd name="connsiteX3" fmla="*/ 2326512 w 2326512"/>
              <a:gd name="connsiteY3" fmla="*/ 1028810 h 1028810"/>
              <a:gd name="connsiteX0" fmla="*/ 0 w 2326512"/>
              <a:gd name="connsiteY0" fmla="*/ 1049448 h 1049448"/>
              <a:gd name="connsiteX1" fmla="*/ 451413 w 2326512"/>
              <a:gd name="connsiteY1" fmla="*/ 135048 h 1049448"/>
              <a:gd name="connsiteX2" fmla="*/ 1770927 w 2326512"/>
              <a:gd name="connsiteY2" fmla="*/ 100324 h 1049448"/>
              <a:gd name="connsiteX3" fmla="*/ 2326512 w 2326512"/>
              <a:gd name="connsiteY3" fmla="*/ 1049448 h 1049448"/>
              <a:gd name="connsiteX0" fmla="*/ 0 w 2326512"/>
              <a:gd name="connsiteY0" fmla="*/ 1061388 h 1061388"/>
              <a:gd name="connsiteX1" fmla="*/ 509286 w 2326512"/>
              <a:gd name="connsiteY1" fmla="*/ 123838 h 1061388"/>
              <a:gd name="connsiteX2" fmla="*/ 1770927 w 2326512"/>
              <a:gd name="connsiteY2" fmla="*/ 112264 h 1061388"/>
              <a:gd name="connsiteX3" fmla="*/ 2326512 w 2326512"/>
              <a:gd name="connsiteY3" fmla="*/ 1061388 h 106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6512" h="1061388">
                <a:moveTo>
                  <a:pt x="0" y="1061388"/>
                </a:moveTo>
                <a:cubicBezTo>
                  <a:pt x="14469" y="706431"/>
                  <a:pt x="214132" y="282025"/>
                  <a:pt x="509286" y="123838"/>
                </a:cubicBezTo>
                <a:cubicBezTo>
                  <a:pt x="804440" y="-34349"/>
                  <a:pt x="1468056" y="-43994"/>
                  <a:pt x="1770927" y="112264"/>
                </a:cubicBezTo>
                <a:cubicBezTo>
                  <a:pt x="2073798" y="268522"/>
                  <a:pt x="2215588" y="659167"/>
                  <a:pt x="2326512" y="1061388"/>
                </a:cubicBezTo>
              </a:path>
            </a:pathLst>
          </a:cu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9C0DBEE3-427C-414D-A1EB-96F83D71A892}"/>
              </a:ext>
            </a:extLst>
          </p:cNvPr>
          <p:cNvSpPr/>
          <p:nvPr/>
        </p:nvSpPr>
        <p:spPr>
          <a:xfrm flipV="1">
            <a:off x="2801073" y="2824434"/>
            <a:ext cx="2326512" cy="1061388"/>
          </a:xfrm>
          <a:custGeom>
            <a:avLst/>
            <a:gdLst>
              <a:gd name="connsiteX0" fmla="*/ 0 w 2326512"/>
              <a:gd name="connsiteY0" fmla="*/ 1028810 h 1028810"/>
              <a:gd name="connsiteX1" fmla="*/ 324092 w 2326512"/>
              <a:gd name="connsiteY1" fmla="*/ 160709 h 1028810"/>
              <a:gd name="connsiteX2" fmla="*/ 1770927 w 2326512"/>
              <a:gd name="connsiteY2" fmla="*/ 79686 h 1028810"/>
              <a:gd name="connsiteX3" fmla="*/ 2326512 w 2326512"/>
              <a:gd name="connsiteY3" fmla="*/ 1028810 h 1028810"/>
              <a:gd name="connsiteX0" fmla="*/ 0 w 2326512"/>
              <a:gd name="connsiteY0" fmla="*/ 1049448 h 1049448"/>
              <a:gd name="connsiteX1" fmla="*/ 451413 w 2326512"/>
              <a:gd name="connsiteY1" fmla="*/ 135048 h 1049448"/>
              <a:gd name="connsiteX2" fmla="*/ 1770927 w 2326512"/>
              <a:gd name="connsiteY2" fmla="*/ 100324 h 1049448"/>
              <a:gd name="connsiteX3" fmla="*/ 2326512 w 2326512"/>
              <a:gd name="connsiteY3" fmla="*/ 1049448 h 1049448"/>
              <a:gd name="connsiteX0" fmla="*/ 0 w 2326512"/>
              <a:gd name="connsiteY0" fmla="*/ 1061388 h 1061388"/>
              <a:gd name="connsiteX1" fmla="*/ 509286 w 2326512"/>
              <a:gd name="connsiteY1" fmla="*/ 123838 h 1061388"/>
              <a:gd name="connsiteX2" fmla="*/ 1770927 w 2326512"/>
              <a:gd name="connsiteY2" fmla="*/ 112264 h 1061388"/>
              <a:gd name="connsiteX3" fmla="*/ 2326512 w 2326512"/>
              <a:gd name="connsiteY3" fmla="*/ 1061388 h 106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6512" h="1061388">
                <a:moveTo>
                  <a:pt x="0" y="1061388"/>
                </a:moveTo>
                <a:cubicBezTo>
                  <a:pt x="14469" y="706431"/>
                  <a:pt x="214132" y="282025"/>
                  <a:pt x="509286" y="123838"/>
                </a:cubicBezTo>
                <a:cubicBezTo>
                  <a:pt x="804440" y="-34349"/>
                  <a:pt x="1468056" y="-43994"/>
                  <a:pt x="1770927" y="112264"/>
                </a:cubicBezTo>
                <a:cubicBezTo>
                  <a:pt x="2073798" y="268522"/>
                  <a:pt x="2215588" y="659167"/>
                  <a:pt x="2326512" y="1061388"/>
                </a:cubicBezTo>
              </a:path>
            </a:pathLst>
          </a:cu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E1CA07E-DDDD-B640-8CD2-B3726B1A7C1C}"/>
              </a:ext>
            </a:extLst>
          </p:cNvPr>
          <p:cNvSpPr/>
          <p:nvPr/>
        </p:nvSpPr>
        <p:spPr>
          <a:xfrm>
            <a:off x="2541139" y="2553563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9EFF8A2-9156-7445-A4C1-AF7BE8EB5C19}"/>
              </a:ext>
            </a:extLst>
          </p:cNvPr>
          <p:cNvSpPr/>
          <p:nvPr/>
        </p:nvSpPr>
        <p:spPr>
          <a:xfrm>
            <a:off x="4871476" y="2553563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8219DE-EA31-CE48-9D4D-67E7412B94E5}"/>
              </a:ext>
            </a:extLst>
          </p:cNvPr>
          <p:cNvSpPr txBox="1"/>
          <p:nvPr/>
        </p:nvSpPr>
        <p:spPr>
          <a:xfrm>
            <a:off x="3587237" y="1340985"/>
            <a:ext cx="1202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th </a:t>
            </a:r>
            <a:r>
              <a:rPr lang="en-US" b="1" dirty="0">
                <a:solidFill>
                  <a:srgbClr val="FF0000"/>
                </a:solidFill>
              </a:rPr>
              <a:t>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CBF2A85-519B-4847-B8B4-20DC4D621F9A}"/>
              </a:ext>
            </a:extLst>
          </p:cNvPr>
          <p:cNvSpPr txBox="1"/>
          <p:nvPr/>
        </p:nvSpPr>
        <p:spPr>
          <a:xfrm>
            <a:off x="3587237" y="2422093"/>
            <a:ext cx="1202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th </a:t>
            </a:r>
            <a:r>
              <a:rPr lang="en-US" b="1" dirty="0">
                <a:solidFill>
                  <a:schemeClr val="accent3"/>
                </a:solidFill>
              </a:rPr>
              <a:t>B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0EEEA75-69C2-F54E-8499-5B2D7FA7EBA1}"/>
              </a:ext>
            </a:extLst>
          </p:cNvPr>
          <p:cNvSpPr txBox="1"/>
          <p:nvPr/>
        </p:nvSpPr>
        <p:spPr>
          <a:xfrm>
            <a:off x="3587237" y="3469391"/>
            <a:ext cx="1202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th </a:t>
            </a:r>
            <a:r>
              <a:rPr lang="en-US" b="1" dirty="0">
                <a:solidFill>
                  <a:schemeClr val="accent2"/>
                </a:solidFill>
              </a:rPr>
              <a:t>C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2DB2F18-36B7-E74B-AE5F-7B3D02DC2848}"/>
              </a:ext>
            </a:extLst>
          </p:cNvPr>
          <p:cNvCxnSpPr>
            <a:stCxn id="9" idx="3"/>
          </p:cNvCxnSpPr>
          <p:nvPr/>
        </p:nvCxnSpPr>
        <p:spPr>
          <a:xfrm flipH="1">
            <a:off x="1619250" y="2963472"/>
            <a:ext cx="997478" cy="9223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tailEnd type="arrow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308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4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83CF0D6-0225-EB4A-A0D6-03C5FE19B7A1}"/>
              </a:ext>
            </a:extLst>
          </p:cNvPr>
          <p:cNvCxnSpPr>
            <a:cxnSpLocks/>
          </p:cNvCxnSpPr>
          <p:nvPr/>
        </p:nvCxnSpPr>
        <p:spPr>
          <a:xfrm flipH="1">
            <a:off x="622544" y="2812753"/>
            <a:ext cx="4505041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BE639C-157B-114C-B20C-89D4842BFF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41B966A-83AD-9347-8E71-3CC4B3A19268}"/>
                  </a:ext>
                </a:extLst>
              </p:cNvPr>
              <p:cNvSpPr txBox="1"/>
              <p:nvPr/>
            </p:nvSpPr>
            <p:spPr>
              <a:xfrm>
                <a:off x="2553025" y="1859089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41B966A-83AD-9347-8E71-3CC4B3A192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3025" y="1859089"/>
                <a:ext cx="516153" cy="414088"/>
              </a:xfrm>
              <a:prstGeom prst="rect">
                <a:avLst/>
              </a:prstGeom>
              <a:blipFill>
                <a:blip r:embed="rId2"/>
                <a:stretch>
                  <a:fillRect l="-47619" t="-108824" r="-2619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481188C-3853-B343-9A64-F4DDF2F6EF8E}"/>
                  </a:ext>
                </a:extLst>
              </p:cNvPr>
              <p:cNvSpPr txBox="1"/>
              <p:nvPr/>
            </p:nvSpPr>
            <p:spPr>
              <a:xfrm>
                <a:off x="2957625" y="2411302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accent3"/>
                  </a:solidFill>
                </a:endParaRPr>
              </a:p>
            </p:txBody>
          </p:sp>
        </mc:Choice>
        <mc:Fallback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481188C-3853-B343-9A64-F4DDF2F6EF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57625" y="2411302"/>
                <a:ext cx="516153" cy="414088"/>
              </a:xfrm>
              <a:prstGeom prst="rect">
                <a:avLst/>
              </a:prstGeom>
              <a:blipFill>
                <a:blip r:embed="rId3"/>
                <a:stretch>
                  <a:fillRect l="-47619" t="-112121" r="-26190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3CA864-7358-1F44-BF82-24522591B044}"/>
                  </a:ext>
                </a:extLst>
              </p:cNvPr>
              <p:cNvSpPr txBox="1"/>
              <p:nvPr/>
            </p:nvSpPr>
            <p:spPr>
              <a:xfrm>
                <a:off x="2518849" y="3086748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accent2"/>
                  </a:solidFill>
                </a:endParaRPr>
              </a:p>
            </p:txBody>
          </p:sp>
        </mc:Choice>
        <mc:Fallback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3CA864-7358-1F44-BF82-24522591B0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8849" y="3086748"/>
                <a:ext cx="516153" cy="412485"/>
              </a:xfrm>
              <a:prstGeom prst="rect">
                <a:avLst/>
              </a:prstGeom>
              <a:blipFill>
                <a:blip r:embed="rId4"/>
                <a:stretch>
                  <a:fillRect l="-45238" t="-108824" r="-26190" b="-1617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ight Arrow 21">
            <a:extLst>
              <a:ext uri="{FF2B5EF4-FFF2-40B4-BE49-F238E27FC236}">
                <a16:creationId xmlns:a16="http://schemas.microsoft.com/office/drawing/2014/main" id="{716F4FFB-A5C0-144E-917D-8A3FE300B8E9}"/>
              </a:ext>
            </a:extLst>
          </p:cNvPr>
          <p:cNvSpPr/>
          <p:nvPr/>
        </p:nvSpPr>
        <p:spPr>
          <a:xfrm>
            <a:off x="622544" y="2553563"/>
            <a:ext cx="1913900" cy="228369"/>
          </a:xfrm>
          <a:prstGeom prst="rightArrow">
            <a:avLst>
              <a:gd name="adj1" fmla="val 30275"/>
              <a:gd name="adj2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B017E0B-B764-3D42-8230-5605FB33F1F6}"/>
              </a:ext>
            </a:extLst>
          </p:cNvPr>
          <p:cNvSpPr txBox="1"/>
          <p:nvPr/>
        </p:nvSpPr>
        <p:spPr>
          <a:xfrm>
            <a:off x="600255" y="2307951"/>
            <a:ext cx="1999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CP connection flow</a:t>
            </a:r>
          </a:p>
        </p:txBody>
      </p: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3EB2184E-0E22-6043-B472-AC6F2C2F4A9A}"/>
              </a:ext>
            </a:extLst>
          </p:cNvPr>
          <p:cNvGraphicFramePr>
            <a:graphicFrameLocks noGrp="1"/>
          </p:cNvGraphicFramePr>
          <p:nvPr/>
        </p:nvGraphicFramePr>
        <p:xfrm>
          <a:off x="897083" y="4096102"/>
          <a:ext cx="1264501" cy="113228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264501">
                  <a:extLst>
                    <a:ext uri="{9D8B030D-6E8A-4147-A177-3AD203B41FA5}">
                      <a16:colId xmlns:a16="http://schemas.microsoft.com/office/drawing/2014/main" val="1917681482"/>
                    </a:ext>
                  </a:extLst>
                </a:gridCol>
              </a:tblGrid>
              <a:tr h="28193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P </a:t>
                      </a:r>
                      <a:r>
                        <a:rPr lang="en-US" sz="1800" b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c</a:t>
                      </a:r>
                      <a:r>
                        <a:rPr lang="en-US" sz="1800" b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VIP</a:t>
                      </a:r>
                    </a:p>
                  </a:txBody>
                  <a:tcPr marL="54000" marR="0" marT="4680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58911"/>
                  </a:ext>
                </a:extLst>
              </a:tr>
              <a:tr h="398603">
                <a:tc>
                  <a:txBody>
                    <a:bodyPr/>
                    <a:lstStyle/>
                    <a:p>
                      <a:pPr marL="0" marR="0" lvl="0" indent="0" algn="l" defTabSz="4273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CP </a:t>
                      </a:r>
                      <a:r>
                        <a:rPr lang="en-US" sz="1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rc</a:t>
                      </a:r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1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st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0" marR="0" marT="4680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386892"/>
                  </a:ext>
                </a:extLst>
              </a:tr>
              <a:tr h="281931">
                <a:tc>
                  <a:txBody>
                    <a:bodyPr/>
                    <a:lstStyle/>
                    <a:p>
                      <a:pPr marL="0" marR="0" lvl="0" indent="0" algn="l" defTabSz="4273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yload</a:t>
                      </a:r>
                    </a:p>
                  </a:txBody>
                  <a:tcPr marL="54000" marR="0" marT="468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7830686"/>
                  </a:ext>
                </a:extLst>
              </a:tr>
            </a:tbl>
          </a:graphicData>
        </a:graphic>
      </p:graphicFrame>
      <p:sp>
        <p:nvSpPr>
          <p:cNvPr id="33" name="Right Brace 32">
            <a:extLst>
              <a:ext uri="{FF2B5EF4-FFF2-40B4-BE49-F238E27FC236}">
                <a16:creationId xmlns:a16="http://schemas.microsoft.com/office/drawing/2014/main" id="{F76E0F49-A815-2541-B71B-0CE0A5626045}"/>
              </a:ext>
            </a:extLst>
          </p:cNvPr>
          <p:cNvSpPr/>
          <p:nvPr/>
        </p:nvSpPr>
        <p:spPr>
          <a:xfrm>
            <a:off x="2202821" y="4092968"/>
            <a:ext cx="210133" cy="785068"/>
          </a:xfrm>
          <a:prstGeom prst="rightBrace">
            <a:avLst/>
          </a:prstGeom>
          <a:ln w="25400">
            <a:solidFill>
              <a:schemeClr val="tx1"/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8251" tIns="49125" rIns="98251" bIns="491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34"/>
          </a:p>
        </p:txBody>
      </p:sp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153BF606-AFF5-0647-950C-E257C4B3853F}"/>
              </a:ext>
            </a:extLst>
          </p:cNvPr>
          <p:cNvGraphicFramePr>
            <a:graphicFrameLocks noGrp="1"/>
          </p:cNvGraphicFramePr>
          <p:nvPr/>
        </p:nvGraphicFramePr>
        <p:xfrm>
          <a:off x="3895344" y="4286260"/>
          <a:ext cx="939265" cy="3668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39265">
                  <a:extLst>
                    <a:ext uri="{9D8B030D-6E8A-4147-A177-3AD203B41FA5}">
                      <a16:colId xmlns:a16="http://schemas.microsoft.com/office/drawing/2014/main" val="1917681482"/>
                    </a:ext>
                  </a:extLst>
                </a:gridCol>
              </a:tblGrid>
              <a:tr h="28193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h % 6</a:t>
                      </a:r>
                      <a:endParaRPr lang="en-US" sz="18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0" marR="0" marT="468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58911"/>
                  </a:ext>
                </a:extLst>
              </a:tr>
            </a:tbl>
          </a:graphicData>
        </a:graphic>
      </p:graphicFrame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C565CA7-A24C-6946-A591-DD9F1F7D7E09}"/>
              </a:ext>
            </a:extLst>
          </p:cNvPr>
          <p:cNvCxnSpPr/>
          <p:nvPr/>
        </p:nvCxnSpPr>
        <p:spPr>
          <a:xfrm>
            <a:off x="2478024" y="4480560"/>
            <a:ext cx="1298448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reeform 44">
            <a:extLst>
              <a:ext uri="{FF2B5EF4-FFF2-40B4-BE49-F238E27FC236}">
                <a16:creationId xmlns:a16="http://schemas.microsoft.com/office/drawing/2014/main" id="{3F61D116-6518-F442-8621-8A417B710CE4}"/>
              </a:ext>
            </a:extLst>
          </p:cNvPr>
          <p:cNvSpPr/>
          <p:nvPr/>
        </p:nvSpPr>
        <p:spPr>
          <a:xfrm>
            <a:off x="4874724" y="4469681"/>
            <a:ext cx="1580940" cy="408356"/>
          </a:xfrm>
          <a:custGeom>
            <a:avLst/>
            <a:gdLst>
              <a:gd name="connsiteX0" fmla="*/ 0 w 1271016"/>
              <a:gd name="connsiteY0" fmla="*/ 3950 h 2253374"/>
              <a:gd name="connsiteX1" fmla="*/ 384048 w 1271016"/>
              <a:gd name="connsiteY1" fmla="*/ 223406 h 2253374"/>
              <a:gd name="connsiteX2" fmla="*/ 557784 w 1271016"/>
              <a:gd name="connsiteY2" fmla="*/ 1439558 h 2253374"/>
              <a:gd name="connsiteX3" fmla="*/ 768096 w 1271016"/>
              <a:gd name="connsiteY3" fmla="*/ 2088782 h 2253374"/>
              <a:gd name="connsiteX4" fmla="*/ 1271016 w 1271016"/>
              <a:gd name="connsiteY4" fmla="*/ 2253374 h 2253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1016" h="2253374">
                <a:moveTo>
                  <a:pt x="0" y="3950"/>
                </a:moveTo>
                <a:cubicBezTo>
                  <a:pt x="145542" y="-5956"/>
                  <a:pt x="291084" y="-15862"/>
                  <a:pt x="384048" y="223406"/>
                </a:cubicBezTo>
                <a:cubicBezTo>
                  <a:pt x="477012" y="462674"/>
                  <a:pt x="493776" y="1128662"/>
                  <a:pt x="557784" y="1439558"/>
                </a:cubicBezTo>
                <a:cubicBezTo>
                  <a:pt x="621792" y="1750454"/>
                  <a:pt x="649224" y="1953146"/>
                  <a:pt x="768096" y="2088782"/>
                </a:cubicBezTo>
                <a:cubicBezTo>
                  <a:pt x="886968" y="2224418"/>
                  <a:pt x="1078992" y="2238896"/>
                  <a:pt x="1271016" y="2253374"/>
                </a:cubicBezTo>
              </a:path>
            </a:pathLst>
          </a:custGeom>
          <a:ln w="25400">
            <a:tailEnd type="arrow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itle 3">
            <a:extLst>
              <a:ext uri="{FF2B5EF4-FFF2-40B4-BE49-F238E27FC236}">
                <a16:creationId xmlns:a16="http://schemas.microsoft.com/office/drawing/2014/main" id="{DC301B1B-DE58-DC45-8044-0788EF7D8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404870"/>
            <a:ext cx="7297806" cy="888008"/>
          </a:xfrm>
        </p:spPr>
        <p:txBody>
          <a:bodyPr/>
          <a:lstStyle/>
          <a:p>
            <a:r>
              <a:rPr lang="en-US" dirty="0"/>
              <a:t>Stateless hash-based traffic splitting: packets belonging to the same connection may be </a:t>
            </a:r>
            <a:r>
              <a:rPr lang="en-US" dirty="0">
                <a:solidFill>
                  <a:srgbClr val="FF0000"/>
                </a:solidFill>
              </a:rPr>
              <a:t>rerouted </a:t>
            </a:r>
            <a:r>
              <a:rPr lang="en-US" dirty="0"/>
              <a:t>when traffic splitting ratios are modifie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153E347-C0EE-C54D-9320-B30D8E0F5A4B}"/>
              </a:ext>
            </a:extLst>
          </p:cNvPr>
          <p:cNvSpPr/>
          <p:nvPr/>
        </p:nvSpPr>
        <p:spPr>
          <a:xfrm>
            <a:off x="2801073" y="1739685"/>
            <a:ext cx="2326512" cy="1061388"/>
          </a:xfrm>
          <a:custGeom>
            <a:avLst/>
            <a:gdLst>
              <a:gd name="connsiteX0" fmla="*/ 0 w 2326512"/>
              <a:gd name="connsiteY0" fmla="*/ 1028810 h 1028810"/>
              <a:gd name="connsiteX1" fmla="*/ 324092 w 2326512"/>
              <a:gd name="connsiteY1" fmla="*/ 160709 h 1028810"/>
              <a:gd name="connsiteX2" fmla="*/ 1770927 w 2326512"/>
              <a:gd name="connsiteY2" fmla="*/ 79686 h 1028810"/>
              <a:gd name="connsiteX3" fmla="*/ 2326512 w 2326512"/>
              <a:gd name="connsiteY3" fmla="*/ 1028810 h 1028810"/>
              <a:gd name="connsiteX0" fmla="*/ 0 w 2326512"/>
              <a:gd name="connsiteY0" fmla="*/ 1049448 h 1049448"/>
              <a:gd name="connsiteX1" fmla="*/ 451413 w 2326512"/>
              <a:gd name="connsiteY1" fmla="*/ 135048 h 1049448"/>
              <a:gd name="connsiteX2" fmla="*/ 1770927 w 2326512"/>
              <a:gd name="connsiteY2" fmla="*/ 100324 h 1049448"/>
              <a:gd name="connsiteX3" fmla="*/ 2326512 w 2326512"/>
              <a:gd name="connsiteY3" fmla="*/ 1049448 h 1049448"/>
              <a:gd name="connsiteX0" fmla="*/ 0 w 2326512"/>
              <a:gd name="connsiteY0" fmla="*/ 1061388 h 1061388"/>
              <a:gd name="connsiteX1" fmla="*/ 509286 w 2326512"/>
              <a:gd name="connsiteY1" fmla="*/ 123838 h 1061388"/>
              <a:gd name="connsiteX2" fmla="*/ 1770927 w 2326512"/>
              <a:gd name="connsiteY2" fmla="*/ 112264 h 1061388"/>
              <a:gd name="connsiteX3" fmla="*/ 2326512 w 2326512"/>
              <a:gd name="connsiteY3" fmla="*/ 1061388 h 106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6512" h="1061388">
                <a:moveTo>
                  <a:pt x="0" y="1061388"/>
                </a:moveTo>
                <a:cubicBezTo>
                  <a:pt x="14469" y="706431"/>
                  <a:pt x="214132" y="282025"/>
                  <a:pt x="509286" y="123838"/>
                </a:cubicBezTo>
                <a:cubicBezTo>
                  <a:pt x="804440" y="-34349"/>
                  <a:pt x="1468056" y="-43994"/>
                  <a:pt x="1770927" y="112264"/>
                </a:cubicBezTo>
                <a:cubicBezTo>
                  <a:pt x="2073798" y="268522"/>
                  <a:pt x="2215588" y="659167"/>
                  <a:pt x="2326512" y="1061388"/>
                </a:cubicBezTo>
              </a:path>
            </a:pathLst>
          </a:cu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9C0DBEE3-427C-414D-A1EB-96F83D71A892}"/>
              </a:ext>
            </a:extLst>
          </p:cNvPr>
          <p:cNvSpPr/>
          <p:nvPr/>
        </p:nvSpPr>
        <p:spPr>
          <a:xfrm flipV="1">
            <a:off x="2801073" y="2824434"/>
            <a:ext cx="2326512" cy="1061388"/>
          </a:xfrm>
          <a:custGeom>
            <a:avLst/>
            <a:gdLst>
              <a:gd name="connsiteX0" fmla="*/ 0 w 2326512"/>
              <a:gd name="connsiteY0" fmla="*/ 1028810 h 1028810"/>
              <a:gd name="connsiteX1" fmla="*/ 324092 w 2326512"/>
              <a:gd name="connsiteY1" fmla="*/ 160709 h 1028810"/>
              <a:gd name="connsiteX2" fmla="*/ 1770927 w 2326512"/>
              <a:gd name="connsiteY2" fmla="*/ 79686 h 1028810"/>
              <a:gd name="connsiteX3" fmla="*/ 2326512 w 2326512"/>
              <a:gd name="connsiteY3" fmla="*/ 1028810 h 1028810"/>
              <a:gd name="connsiteX0" fmla="*/ 0 w 2326512"/>
              <a:gd name="connsiteY0" fmla="*/ 1049448 h 1049448"/>
              <a:gd name="connsiteX1" fmla="*/ 451413 w 2326512"/>
              <a:gd name="connsiteY1" fmla="*/ 135048 h 1049448"/>
              <a:gd name="connsiteX2" fmla="*/ 1770927 w 2326512"/>
              <a:gd name="connsiteY2" fmla="*/ 100324 h 1049448"/>
              <a:gd name="connsiteX3" fmla="*/ 2326512 w 2326512"/>
              <a:gd name="connsiteY3" fmla="*/ 1049448 h 1049448"/>
              <a:gd name="connsiteX0" fmla="*/ 0 w 2326512"/>
              <a:gd name="connsiteY0" fmla="*/ 1061388 h 1061388"/>
              <a:gd name="connsiteX1" fmla="*/ 509286 w 2326512"/>
              <a:gd name="connsiteY1" fmla="*/ 123838 h 1061388"/>
              <a:gd name="connsiteX2" fmla="*/ 1770927 w 2326512"/>
              <a:gd name="connsiteY2" fmla="*/ 112264 h 1061388"/>
              <a:gd name="connsiteX3" fmla="*/ 2326512 w 2326512"/>
              <a:gd name="connsiteY3" fmla="*/ 1061388 h 106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6512" h="1061388">
                <a:moveTo>
                  <a:pt x="0" y="1061388"/>
                </a:moveTo>
                <a:cubicBezTo>
                  <a:pt x="14469" y="706431"/>
                  <a:pt x="214132" y="282025"/>
                  <a:pt x="509286" y="123838"/>
                </a:cubicBezTo>
                <a:cubicBezTo>
                  <a:pt x="804440" y="-34349"/>
                  <a:pt x="1468056" y="-43994"/>
                  <a:pt x="1770927" y="112264"/>
                </a:cubicBezTo>
                <a:cubicBezTo>
                  <a:pt x="2073798" y="268522"/>
                  <a:pt x="2215588" y="659167"/>
                  <a:pt x="2326512" y="1061388"/>
                </a:cubicBezTo>
              </a:path>
            </a:pathLst>
          </a:cu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E1CA07E-DDDD-B640-8CD2-B3726B1A7C1C}"/>
              </a:ext>
            </a:extLst>
          </p:cNvPr>
          <p:cNvSpPr/>
          <p:nvPr/>
        </p:nvSpPr>
        <p:spPr>
          <a:xfrm>
            <a:off x="2541139" y="2553563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9EFF8A2-9156-7445-A4C1-AF7BE8EB5C19}"/>
              </a:ext>
            </a:extLst>
          </p:cNvPr>
          <p:cNvSpPr/>
          <p:nvPr/>
        </p:nvSpPr>
        <p:spPr>
          <a:xfrm>
            <a:off x="4871476" y="2553563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8219DE-EA31-CE48-9D4D-67E7412B94E5}"/>
              </a:ext>
            </a:extLst>
          </p:cNvPr>
          <p:cNvSpPr txBox="1"/>
          <p:nvPr/>
        </p:nvSpPr>
        <p:spPr>
          <a:xfrm>
            <a:off x="3587237" y="1340985"/>
            <a:ext cx="1202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th </a:t>
            </a:r>
            <a:r>
              <a:rPr lang="en-US" b="1" dirty="0">
                <a:solidFill>
                  <a:srgbClr val="FF0000"/>
                </a:solidFill>
              </a:rPr>
              <a:t>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CBF2A85-519B-4847-B8B4-20DC4D621F9A}"/>
              </a:ext>
            </a:extLst>
          </p:cNvPr>
          <p:cNvSpPr txBox="1"/>
          <p:nvPr/>
        </p:nvSpPr>
        <p:spPr>
          <a:xfrm>
            <a:off x="3587237" y="2422093"/>
            <a:ext cx="1202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th </a:t>
            </a:r>
            <a:r>
              <a:rPr lang="en-US" b="1" dirty="0">
                <a:solidFill>
                  <a:schemeClr val="accent3"/>
                </a:solidFill>
              </a:rPr>
              <a:t>B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0EEEA75-69C2-F54E-8499-5B2D7FA7EBA1}"/>
              </a:ext>
            </a:extLst>
          </p:cNvPr>
          <p:cNvSpPr txBox="1"/>
          <p:nvPr/>
        </p:nvSpPr>
        <p:spPr>
          <a:xfrm>
            <a:off x="3587237" y="3469391"/>
            <a:ext cx="1202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th </a:t>
            </a:r>
            <a:r>
              <a:rPr lang="en-US" b="1" dirty="0">
                <a:solidFill>
                  <a:schemeClr val="accent2"/>
                </a:solidFill>
              </a:rPr>
              <a:t>C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2DB2F18-36B7-E74B-AE5F-7B3D02DC2848}"/>
              </a:ext>
            </a:extLst>
          </p:cNvPr>
          <p:cNvCxnSpPr>
            <a:stCxn id="9" idx="3"/>
          </p:cNvCxnSpPr>
          <p:nvPr/>
        </p:nvCxnSpPr>
        <p:spPr>
          <a:xfrm flipH="1">
            <a:off x="1619250" y="2963472"/>
            <a:ext cx="997478" cy="92235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tailEnd type="arrow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F6B5A1EA-65FD-3F46-941A-017B5025EA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450218"/>
              </p:ext>
            </p:extLst>
          </p:nvPr>
        </p:nvGraphicFramePr>
        <p:xfrm>
          <a:off x="6508124" y="3034293"/>
          <a:ext cx="2408932" cy="28196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4466">
                  <a:extLst>
                    <a:ext uri="{9D8B030D-6E8A-4147-A177-3AD203B41FA5}">
                      <a16:colId xmlns:a16="http://schemas.microsoft.com/office/drawing/2014/main" val="3069747376"/>
                    </a:ext>
                  </a:extLst>
                </a:gridCol>
                <a:gridCol w="1204466">
                  <a:extLst>
                    <a:ext uri="{9D8B030D-6E8A-4147-A177-3AD203B41FA5}">
                      <a16:colId xmlns:a16="http://schemas.microsoft.com/office/drawing/2014/main" val="767082663"/>
                    </a:ext>
                  </a:extLst>
                </a:gridCol>
              </a:tblGrid>
              <a:tr h="40280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index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nexthop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1882131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125659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271267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040512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 </a:t>
                      </a:r>
                      <a:r>
                        <a:rPr lang="en-US" dirty="0">
                          <a:sym typeface="Wingdings" pitchFamily="2" charset="2"/>
                        </a:rPr>
                        <a:t></a:t>
                      </a:r>
                      <a:r>
                        <a:rPr lang="en-US" dirty="0"/>
                        <a:t> B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930216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5252781"/>
                  </a:ext>
                </a:extLst>
              </a:tr>
              <a:tr h="402806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710425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3A8E0A11-B39B-7D4D-97B8-DA4CD83FFBF5}"/>
                  </a:ext>
                </a:extLst>
              </p:cNvPr>
              <p:cNvSpPr txBox="1"/>
              <p:nvPr/>
            </p:nvSpPr>
            <p:spPr>
              <a:xfrm>
                <a:off x="3151023" y="2115481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accent3"/>
                  </a:solidFill>
                </a:endParaRPr>
              </a:p>
            </p:txBody>
          </p:sp>
        </mc:Choice>
        <mc:Fallback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3A8E0A11-B39B-7D4D-97B8-DA4CD83FFB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1023" y="2115481"/>
                <a:ext cx="516153" cy="414088"/>
              </a:xfrm>
              <a:prstGeom prst="rect">
                <a:avLst/>
              </a:prstGeom>
              <a:blipFill>
                <a:blip r:embed="rId5"/>
                <a:stretch>
                  <a:fillRect l="-47619" t="-112121" r="-26190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CFC1D1F-6E02-FE4F-9E38-8BBED34D8401}"/>
                  </a:ext>
                </a:extLst>
              </p:cNvPr>
              <p:cNvSpPr txBox="1"/>
              <p:nvPr/>
            </p:nvSpPr>
            <p:spPr>
              <a:xfrm>
                <a:off x="2680072" y="3491912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accent2"/>
                  </a:solidFill>
                </a:endParaRPr>
              </a:p>
            </p:txBody>
          </p:sp>
        </mc:Choice>
        <mc:Fallback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CFC1D1F-6E02-FE4F-9E38-8BBED34D84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80072" y="3491912"/>
                <a:ext cx="516153" cy="412485"/>
              </a:xfrm>
              <a:prstGeom prst="rect">
                <a:avLst/>
              </a:prstGeom>
              <a:blipFill>
                <a:blip r:embed="rId6"/>
                <a:stretch>
                  <a:fillRect l="-47619" t="-112121" r="-26190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Multiply 26">
            <a:extLst>
              <a:ext uri="{FF2B5EF4-FFF2-40B4-BE49-F238E27FC236}">
                <a16:creationId xmlns:a16="http://schemas.microsoft.com/office/drawing/2014/main" id="{22272926-5915-0B44-8DD0-70B2C165E852}"/>
              </a:ext>
            </a:extLst>
          </p:cNvPr>
          <p:cNvSpPr/>
          <p:nvPr/>
        </p:nvSpPr>
        <p:spPr>
          <a:xfrm>
            <a:off x="2903216" y="2395200"/>
            <a:ext cx="602176" cy="525277"/>
          </a:xfrm>
          <a:prstGeom prst="mathMultiply">
            <a:avLst>
              <a:gd name="adj1" fmla="val 71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8" name="Multiply 27">
            <a:extLst>
              <a:ext uri="{FF2B5EF4-FFF2-40B4-BE49-F238E27FC236}">
                <a16:creationId xmlns:a16="http://schemas.microsoft.com/office/drawing/2014/main" id="{26FF8325-2128-4448-A50F-AD978767F8B4}"/>
              </a:ext>
            </a:extLst>
          </p:cNvPr>
          <p:cNvSpPr/>
          <p:nvPr/>
        </p:nvSpPr>
        <p:spPr>
          <a:xfrm>
            <a:off x="2411418" y="3067788"/>
            <a:ext cx="602176" cy="525277"/>
          </a:xfrm>
          <a:prstGeom prst="mathMultiply">
            <a:avLst>
              <a:gd name="adj1" fmla="val 71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9" name="Multiply 28">
            <a:extLst>
              <a:ext uri="{FF2B5EF4-FFF2-40B4-BE49-F238E27FC236}">
                <a16:creationId xmlns:a16="http://schemas.microsoft.com/office/drawing/2014/main" id="{10B6E098-9D85-7045-9E3D-7643D5AF9B9F}"/>
              </a:ext>
            </a:extLst>
          </p:cNvPr>
          <p:cNvSpPr/>
          <p:nvPr/>
        </p:nvSpPr>
        <p:spPr>
          <a:xfrm>
            <a:off x="7633166" y="4580672"/>
            <a:ext cx="602176" cy="525277"/>
          </a:xfrm>
          <a:prstGeom prst="mathMultiply">
            <a:avLst>
              <a:gd name="adj1" fmla="val 711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5684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06A478-F7B6-144E-AB80-152AF9611C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2213" y="1595439"/>
            <a:ext cx="3600450" cy="4078286"/>
          </a:xfrm>
        </p:spPr>
        <p:txBody>
          <a:bodyPr/>
          <a:lstStyle/>
          <a:p>
            <a:r>
              <a:rPr lang="sv-SE" dirty="0" err="1"/>
              <a:t>Extract</a:t>
            </a:r>
            <a:r>
              <a:rPr lang="sv-SE" dirty="0"/>
              <a:t> </a:t>
            </a:r>
            <a:r>
              <a:rPr lang="sv-SE" dirty="0" err="1"/>
              <a:t>base</a:t>
            </a:r>
            <a:r>
              <a:rPr lang="sv-SE" dirty="0"/>
              <a:t> </a:t>
            </a:r>
            <a:r>
              <a:rPr lang="sv-SE" dirty="0" err="1"/>
              <a:t>propagation</a:t>
            </a:r>
            <a:r>
              <a:rPr lang="sv-SE" dirty="0"/>
              <a:t> </a:t>
            </a:r>
            <a:r>
              <a:rPr lang="sv-SE" dirty="0" err="1"/>
              <a:t>latency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filter </a:t>
            </a:r>
            <a:r>
              <a:rPr lang="sv-SE" dirty="0" err="1"/>
              <a:t>congestion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rely</a:t>
            </a:r>
            <a:r>
              <a:rPr lang="sv-SE" dirty="0"/>
              <a:t> on variations </a:t>
            </a:r>
            <a:r>
              <a:rPr lang="sv-SE" dirty="0" err="1"/>
              <a:t>of</a:t>
            </a:r>
            <a:r>
              <a:rPr lang="sv-SE" dirty="0"/>
              <a:t> a </a:t>
            </a:r>
            <a:r>
              <a:rPr lang="sv-SE" dirty="0" err="1"/>
              <a:t>rolling</a:t>
            </a:r>
            <a:r>
              <a:rPr lang="sv-SE" dirty="0"/>
              <a:t>-minimum </a:t>
            </a:r>
            <a:r>
              <a:rPr lang="sv-SE" dirty="0" err="1"/>
              <a:t>mechanism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open a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new connection </a:t>
            </a:r>
            <a:r>
              <a:rPr lang="en-US" dirty="0"/>
              <a:t>and dissect it:</a:t>
            </a:r>
            <a:br>
              <a:rPr lang="en-US" dirty="0"/>
            </a:b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atency</a:t>
            </a:r>
            <a:r>
              <a:rPr lang="en-US" dirty="0"/>
              <a:t> =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base propagation latency </a:t>
            </a:r>
            <a:r>
              <a:rPr lang="en-US" dirty="0"/>
              <a:t>+ </a:t>
            </a:r>
            <a:r>
              <a:rPr lang="en-US" dirty="0">
                <a:solidFill>
                  <a:srgbClr val="FF0000"/>
                </a:solidFill>
              </a:rPr>
              <a:t>congestion</a:t>
            </a:r>
            <a:endParaRPr lang="sv-SE" dirty="0">
              <a:solidFill>
                <a:srgbClr val="FF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564C40-8388-C54D-98EA-3F5171188D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49156"/>
          <a:stretch/>
        </p:blipFill>
        <p:spPr>
          <a:xfrm>
            <a:off x="141514" y="1196975"/>
            <a:ext cx="8564539" cy="428400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941FE87-6806-954A-A68C-8C00F150DD75}"/>
              </a:ext>
            </a:extLst>
          </p:cNvPr>
          <p:cNvSpPr/>
          <p:nvPr/>
        </p:nvSpPr>
        <p:spPr>
          <a:xfrm>
            <a:off x="3500196" y="1711939"/>
            <a:ext cx="92202" cy="2109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85246A-0EEC-C247-9C4E-6B9255BCA7AB}"/>
              </a:ext>
            </a:extLst>
          </p:cNvPr>
          <p:cNvSpPr/>
          <p:nvPr/>
        </p:nvSpPr>
        <p:spPr>
          <a:xfrm>
            <a:off x="4032393" y="1711939"/>
            <a:ext cx="92202" cy="1837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F191C7-0C74-F447-BCEC-CA798F3B8B8F}"/>
              </a:ext>
            </a:extLst>
          </p:cNvPr>
          <p:cNvSpPr/>
          <p:nvPr/>
        </p:nvSpPr>
        <p:spPr>
          <a:xfrm>
            <a:off x="2679159" y="1711939"/>
            <a:ext cx="4724264" cy="633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6943B39-70AC-054D-80C1-4A9B3CEC5BCE}"/>
              </a:ext>
            </a:extLst>
          </p:cNvPr>
          <p:cNvSpPr/>
          <p:nvPr/>
        </p:nvSpPr>
        <p:spPr>
          <a:xfrm>
            <a:off x="2679159" y="2313556"/>
            <a:ext cx="2253830" cy="633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315401-C570-B64B-9C46-B0B2CEB0631B}"/>
              </a:ext>
            </a:extLst>
          </p:cNvPr>
          <p:cNvSpPr/>
          <p:nvPr/>
        </p:nvSpPr>
        <p:spPr>
          <a:xfrm>
            <a:off x="4356767" y="2848235"/>
            <a:ext cx="439058" cy="789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9C7F3A-1C60-7D4E-A223-F77B97FE1653}"/>
              </a:ext>
            </a:extLst>
          </p:cNvPr>
          <p:cNvSpPr/>
          <p:nvPr/>
        </p:nvSpPr>
        <p:spPr>
          <a:xfrm>
            <a:off x="4213748" y="2831274"/>
            <a:ext cx="114071" cy="789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06DBA7-CB9D-7B4F-B100-CF1C51D4ABEA}"/>
              </a:ext>
            </a:extLst>
          </p:cNvPr>
          <p:cNvSpPr/>
          <p:nvPr/>
        </p:nvSpPr>
        <p:spPr>
          <a:xfrm>
            <a:off x="7286187" y="2291228"/>
            <a:ext cx="92204" cy="1297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17A38A-90E2-534A-9FDB-B7312E5E0239}"/>
              </a:ext>
            </a:extLst>
          </p:cNvPr>
          <p:cNvSpPr/>
          <p:nvPr/>
        </p:nvSpPr>
        <p:spPr>
          <a:xfrm>
            <a:off x="7286185" y="2365548"/>
            <a:ext cx="33189" cy="1297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A97DA1-1F8D-3F4F-B8EA-C9E20C2FCB62}"/>
              </a:ext>
            </a:extLst>
          </p:cNvPr>
          <p:cNvSpPr/>
          <p:nvPr/>
        </p:nvSpPr>
        <p:spPr>
          <a:xfrm>
            <a:off x="7108739" y="4321421"/>
            <a:ext cx="487869" cy="249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BEEF7-94E4-3B48-AF3A-7EA894910E20}"/>
              </a:ext>
            </a:extLst>
          </p:cNvPr>
          <p:cNvSpPr/>
          <p:nvPr/>
        </p:nvSpPr>
        <p:spPr>
          <a:xfrm>
            <a:off x="4193494" y="3851972"/>
            <a:ext cx="134326" cy="633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5BAA7A-0525-554C-B779-A2F119AD2DDA}"/>
              </a:ext>
            </a:extLst>
          </p:cNvPr>
          <p:cNvSpPr/>
          <p:nvPr/>
        </p:nvSpPr>
        <p:spPr>
          <a:xfrm>
            <a:off x="4222442" y="4291710"/>
            <a:ext cx="265635" cy="2789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DF7BE2-728D-1149-909F-0F40EA64EB16}"/>
              </a:ext>
            </a:extLst>
          </p:cNvPr>
          <p:cNvSpPr/>
          <p:nvPr/>
        </p:nvSpPr>
        <p:spPr>
          <a:xfrm>
            <a:off x="1687249" y="4475736"/>
            <a:ext cx="2422771" cy="954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834B01-85C7-3645-804D-5B542C0711F6}"/>
              </a:ext>
            </a:extLst>
          </p:cNvPr>
          <p:cNvSpPr/>
          <p:nvPr/>
        </p:nvSpPr>
        <p:spPr>
          <a:xfrm>
            <a:off x="1755168" y="4282715"/>
            <a:ext cx="550183" cy="203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B1D92C-114E-A342-99DF-F479B082C318}"/>
              </a:ext>
            </a:extLst>
          </p:cNvPr>
          <p:cNvSpPr/>
          <p:nvPr/>
        </p:nvSpPr>
        <p:spPr>
          <a:xfrm>
            <a:off x="2134830" y="3842935"/>
            <a:ext cx="164667" cy="551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D5C9DEF-E762-C24D-BB1B-3FE2A43EE666}"/>
              </a:ext>
            </a:extLst>
          </p:cNvPr>
          <p:cNvSpPr/>
          <p:nvPr/>
        </p:nvSpPr>
        <p:spPr>
          <a:xfrm>
            <a:off x="1854815" y="1711938"/>
            <a:ext cx="33189" cy="1908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1D0E9B8-2D94-D34E-9B1F-88FF3A74A4F2}"/>
              </a:ext>
            </a:extLst>
          </p:cNvPr>
          <p:cNvSpPr/>
          <p:nvPr/>
        </p:nvSpPr>
        <p:spPr>
          <a:xfrm>
            <a:off x="2264164" y="1711938"/>
            <a:ext cx="33189" cy="1628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1626A9-FC9C-324A-B817-5611B43E38DA}"/>
              </a:ext>
            </a:extLst>
          </p:cNvPr>
          <p:cNvSpPr/>
          <p:nvPr/>
        </p:nvSpPr>
        <p:spPr>
          <a:xfrm>
            <a:off x="2329203" y="1711938"/>
            <a:ext cx="33189" cy="1628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DD18BC4-9687-2446-9F3C-BD69210F8325}"/>
              </a:ext>
            </a:extLst>
          </p:cNvPr>
          <p:cNvSpPr/>
          <p:nvPr/>
        </p:nvSpPr>
        <p:spPr>
          <a:xfrm>
            <a:off x="2337480" y="1990089"/>
            <a:ext cx="33189" cy="1628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9EB9F6-A1F2-6F48-849C-9F033A80DF40}"/>
              </a:ext>
            </a:extLst>
          </p:cNvPr>
          <p:cNvSpPr/>
          <p:nvPr/>
        </p:nvSpPr>
        <p:spPr>
          <a:xfrm>
            <a:off x="1210565" y="1697085"/>
            <a:ext cx="7203574" cy="2872731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BC750F-8BAD-5149-BDE0-265096A1C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2</a:t>
            </a:fld>
            <a:endParaRPr lang="sv-S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B57751-EA70-B040-8FDC-B2744ED2282C}"/>
              </a:ext>
            </a:extLst>
          </p:cNvPr>
          <p:cNvSpPr/>
          <p:nvPr/>
        </p:nvSpPr>
        <p:spPr>
          <a:xfrm>
            <a:off x="4864608" y="1196975"/>
            <a:ext cx="2926080" cy="3984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4880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tangle: Rounded Corners 6">
            <a:extLst>
              <a:ext uri="{FF2B5EF4-FFF2-40B4-BE49-F238E27FC236}">
                <a16:creationId xmlns:a16="http://schemas.microsoft.com/office/drawing/2014/main" id="{BE0FA7C6-BD41-0C4B-92F2-D7AA5E67444D}"/>
              </a:ext>
            </a:extLst>
          </p:cNvPr>
          <p:cNvSpPr/>
          <p:nvPr/>
        </p:nvSpPr>
        <p:spPr>
          <a:xfrm>
            <a:off x="3713771" y="5133248"/>
            <a:ext cx="1942009" cy="38548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4" name="Rectangle: Rounded Corners 6">
            <a:extLst>
              <a:ext uri="{FF2B5EF4-FFF2-40B4-BE49-F238E27FC236}">
                <a16:creationId xmlns:a16="http://schemas.microsoft.com/office/drawing/2014/main" id="{7EFBC6F3-54A4-024B-B1D9-E8F0F2830F92}"/>
              </a:ext>
            </a:extLst>
          </p:cNvPr>
          <p:cNvSpPr/>
          <p:nvPr/>
        </p:nvSpPr>
        <p:spPr>
          <a:xfrm>
            <a:off x="3267973" y="5128078"/>
            <a:ext cx="1942009" cy="38548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3" name="Rectangle: Rounded Corners 6">
            <a:extLst>
              <a:ext uri="{FF2B5EF4-FFF2-40B4-BE49-F238E27FC236}">
                <a16:creationId xmlns:a16="http://schemas.microsoft.com/office/drawing/2014/main" id="{10DD4CD6-9FE9-8D4F-9943-3001472D2961}"/>
              </a:ext>
            </a:extLst>
          </p:cNvPr>
          <p:cNvSpPr/>
          <p:nvPr/>
        </p:nvSpPr>
        <p:spPr>
          <a:xfrm>
            <a:off x="2801322" y="5132762"/>
            <a:ext cx="1942009" cy="38548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2" name="Rectangle: Rounded Corners 6">
            <a:extLst>
              <a:ext uri="{FF2B5EF4-FFF2-40B4-BE49-F238E27FC236}">
                <a16:creationId xmlns:a16="http://schemas.microsoft.com/office/drawing/2014/main" id="{56A95E06-6600-E147-92B1-E7DEF9AFABBF}"/>
              </a:ext>
            </a:extLst>
          </p:cNvPr>
          <p:cNvSpPr/>
          <p:nvPr/>
        </p:nvSpPr>
        <p:spPr>
          <a:xfrm>
            <a:off x="2317246" y="5136855"/>
            <a:ext cx="1942009" cy="38548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181E5EE-C8E0-A045-AAE5-EB650810A013}"/>
              </a:ext>
            </a:extLst>
          </p:cNvPr>
          <p:cNvSpPr/>
          <p:nvPr/>
        </p:nvSpPr>
        <p:spPr>
          <a:xfrm>
            <a:off x="1" y="5746875"/>
            <a:ext cx="9144000" cy="11111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7" name="Rounded Rectangle 106">
            <a:extLst>
              <a:ext uri="{FF2B5EF4-FFF2-40B4-BE49-F238E27FC236}">
                <a16:creationId xmlns:a16="http://schemas.microsoft.com/office/drawing/2014/main" id="{4B8C7FC7-7385-884A-A3E3-21A779982B68}"/>
              </a:ext>
            </a:extLst>
          </p:cNvPr>
          <p:cNvSpPr/>
          <p:nvPr/>
        </p:nvSpPr>
        <p:spPr>
          <a:xfrm>
            <a:off x="8469086" y="5773666"/>
            <a:ext cx="968828" cy="134559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06A478-F7B6-144E-AB80-152AF9611C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9" y="1268864"/>
            <a:ext cx="7644494" cy="4078286"/>
          </a:xfrm>
        </p:spPr>
        <p:txBody>
          <a:bodyPr/>
          <a:lstStyle/>
          <a:p>
            <a:r>
              <a:rPr lang="sv-SE" dirty="0"/>
              <a:t>Rolling-minimum </a:t>
            </a:r>
            <a:r>
              <a:rPr lang="sv-SE" dirty="0" err="1"/>
              <a:t>sliding</a:t>
            </a:r>
            <a:r>
              <a:rPr lang="sv-SE" dirty="0"/>
              <a:t> </a:t>
            </a:r>
            <a:r>
              <a:rPr lang="sv-SE" dirty="0" err="1"/>
              <a:t>window</a:t>
            </a:r>
            <a:r>
              <a:rPr lang="sv-SE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stable</a:t>
            </a:r>
            <a:r>
              <a:rPr lang="sv-SE" dirty="0"/>
              <a:t> </a:t>
            </a:r>
            <a:r>
              <a:rPr lang="sv-SE" dirty="0" err="1"/>
              <a:t>if</a:t>
            </a:r>
            <a:r>
              <a:rPr lang="sv-SE" dirty="0"/>
              <a:t> 3 </a:t>
            </a:r>
            <a:r>
              <a:rPr lang="sv-SE" dirty="0" err="1"/>
              <a:t>out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4 </a:t>
            </a:r>
            <a:r>
              <a:rPr lang="sv-SE" dirty="0" err="1"/>
              <a:t>samples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within</a:t>
            </a:r>
            <a:r>
              <a:rPr lang="sv-SE" dirty="0"/>
              <a:t> 0.5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update</a:t>
            </a:r>
            <a:r>
              <a:rPr lang="sv-SE" dirty="0"/>
              <a:t> </a:t>
            </a:r>
            <a:r>
              <a:rPr lang="sv-SE" dirty="0" err="1"/>
              <a:t>base</a:t>
            </a:r>
            <a:r>
              <a:rPr lang="sv-SE" dirty="0"/>
              <a:t> </a:t>
            </a:r>
            <a:r>
              <a:rPr lang="sv-SE" dirty="0" err="1"/>
              <a:t>propagation</a:t>
            </a:r>
            <a:r>
              <a:rPr lang="sv-SE" dirty="0"/>
              <a:t>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only</a:t>
            </a:r>
            <a:r>
              <a:rPr lang="sv-SE" dirty="0"/>
              <a:t> </a:t>
            </a:r>
            <a:r>
              <a:rPr lang="sv-SE" dirty="0" err="1"/>
              <a:t>if</a:t>
            </a:r>
            <a:r>
              <a:rPr lang="sv-SE" dirty="0"/>
              <a:t> </a:t>
            </a:r>
            <a:r>
              <a:rPr lang="sv-SE" dirty="0" err="1"/>
              <a:t>stable</a:t>
            </a:r>
            <a:r>
              <a:rPr lang="sv-SE" dirty="0"/>
              <a:t> AND &gt;0.5ms </a:t>
            </a:r>
            <a:r>
              <a:rPr lang="sv-SE" dirty="0" err="1"/>
              <a:t>change</a:t>
            </a:r>
            <a:endParaRPr lang="sv-S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</a:t>
            </a:r>
            <a:r>
              <a:rPr lang="sv-SE" dirty="0" err="1"/>
              <a:t>technical</a:t>
            </a:r>
            <a:r>
              <a:rPr lang="sv-SE" dirty="0"/>
              <a:t> </a:t>
            </a:r>
            <a:r>
              <a:rPr lang="sv-SE" dirty="0" err="1"/>
              <a:t>yet</a:t>
            </a:r>
            <a:r>
              <a:rPr lang="sv-SE" dirty="0"/>
              <a:t> </a:t>
            </a:r>
            <a:r>
              <a:rPr lang="sv-SE" dirty="0" err="1"/>
              <a:t>necessary</a:t>
            </a:r>
            <a:r>
              <a:rPr lang="sv-SE" dirty="0"/>
              <a:t> part (</a:t>
            </a:r>
            <a:r>
              <a:rPr lang="sv-SE" dirty="0" err="1"/>
              <a:t>bear</a:t>
            </a:r>
            <a:r>
              <a:rPr lang="sv-SE" dirty="0"/>
              <a:t>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/>
              <a:t>me</a:t>
            </a:r>
            <a:r>
              <a:rPr lang="sv-SE" dirty="0"/>
              <a:t>):</a:t>
            </a:r>
            <a:br>
              <a:rPr lang="sv-SE" dirty="0"/>
            </a:br>
            <a:r>
              <a:rPr lang="sv-SE" dirty="0" err="1"/>
              <a:t>Extracting</a:t>
            </a:r>
            <a:r>
              <a:rPr lang="sv-SE" dirty="0"/>
              <a:t>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base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propagation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/>
              <a:t>latency</a:t>
            </a:r>
            <a:endParaRPr lang="sv-S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BC750F-8BAD-5149-BDE0-265096A1C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3</a:t>
            </a:fld>
            <a:endParaRPr lang="sv-SE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974D1B1-3BBD-9144-9C1F-48887ED7E84E}"/>
              </a:ext>
            </a:extLst>
          </p:cNvPr>
          <p:cNvCxnSpPr>
            <a:cxnSpLocks/>
          </p:cNvCxnSpPr>
          <p:nvPr/>
        </p:nvCxnSpPr>
        <p:spPr>
          <a:xfrm>
            <a:off x="2262887" y="2911172"/>
            <a:ext cx="880198" cy="0"/>
          </a:xfrm>
          <a:prstGeom prst="line">
            <a:avLst/>
          </a:prstGeom>
          <a:ln w="317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03EC2E2-C23D-6740-A34F-4AA1668D3AE4}"/>
              </a:ext>
            </a:extLst>
          </p:cNvPr>
          <p:cNvCxnSpPr>
            <a:cxnSpLocks/>
          </p:cNvCxnSpPr>
          <p:nvPr/>
        </p:nvCxnSpPr>
        <p:spPr>
          <a:xfrm>
            <a:off x="2270874" y="3061300"/>
            <a:ext cx="880198" cy="0"/>
          </a:xfrm>
          <a:prstGeom prst="line">
            <a:avLst/>
          </a:prstGeom>
          <a:ln w="317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B742666-1B35-414F-9188-F480C728799B}"/>
              </a:ext>
            </a:extLst>
          </p:cNvPr>
          <p:cNvCxnSpPr>
            <a:cxnSpLocks/>
          </p:cNvCxnSpPr>
          <p:nvPr/>
        </p:nvCxnSpPr>
        <p:spPr>
          <a:xfrm>
            <a:off x="2262887" y="3237399"/>
            <a:ext cx="880198" cy="0"/>
          </a:xfrm>
          <a:prstGeom prst="line">
            <a:avLst/>
          </a:prstGeom>
          <a:ln w="317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87B94F3F-4E55-1E43-9F05-4B4AB25E9937}"/>
              </a:ext>
            </a:extLst>
          </p:cNvPr>
          <p:cNvSpPr txBox="1"/>
          <p:nvPr/>
        </p:nvSpPr>
        <p:spPr>
          <a:xfrm>
            <a:off x="1615849" y="2765221"/>
            <a:ext cx="718546" cy="521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i="1" dirty="0"/>
              <a:t>8.00</a:t>
            </a:r>
            <a:br>
              <a:rPr lang="en-US" sz="1100" i="1" dirty="0"/>
            </a:br>
            <a:r>
              <a:rPr lang="en-US" sz="1100" i="1" dirty="0"/>
              <a:t>7.95</a:t>
            </a:r>
            <a:br>
              <a:rPr lang="en-US" sz="1100" i="1" dirty="0"/>
            </a:br>
            <a:r>
              <a:rPr lang="en-US" sz="1100" i="1" dirty="0"/>
              <a:t>7.90</a:t>
            </a:r>
          </a:p>
        </p:txBody>
      </p:sp>
      <p:sp>
        <p:nvSpPr>
          <p:cNvPr id="49" name="Rounded Rectangular Callout 48">
            <a:extLst>
              <a:ext uri="{FF2B5EF4-FFF2-40B4-BE49-F238E27FC236}">
                <a16:creationId xmlns:a16="http://schemas.microsoft.com/office/drawing/2014/main" id="{0ABD2CA4-1FBE-714A-83E3-0A64BFC4CD7B}"/>
              </a:ext>
            </a:extLst>
          </p:cNvPr>
          <p:cNvSpPr/>
          <p:nvPr/>
        </p:nvSpPr>
        <p:spPr>
          <a:xfrm>
            <a:off x="1836793" y="2587482"/>
            <a:ext cx="1395892" cy="847135"/>
          </a:xfrm>
          <a:prstGeom prst="wedgeRoundRectCallout">
            <a:avLst>
              <a:gd name="adj1" fmla="val -39800"/>
              <a:gd name="adj2" fmla="val 87432"/>
              <a:gd name="adj3" fmla="val 16667"/>
            </a:avLst>
          </a:prstGeom>
          <a:noFill/>
          <a:ln w="63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2400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FB4BEF-9CFD-0845-9BC5-6BC6CBC627A7}"/>
              </a:ext>
            </a:extLst>
          </p:cNvPr>
          <p:cNvCxnSpPr>
            <a:cxnSpLocks/>
          </p:cNvCxnSpPr>
          <p:nvPr/>
        </p:nvCxnSpPr>
        <p:spPr>
          <a:xfrm>
            <a:off x="4463953" y="4578603"/>
            <a:ext cx="996157" cy="5304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7194972-9551-424D-89BB-0151A02688F3}"/>
              </a:ext>
            </a:extLst>
          </p:cNvPr>
          <p:cNvCxnSpPr>
            <a:cxnSpLocks/>
          </p:cNvCxnSpPr>
          <p:nvPr/>
        </p:nvCxnSpPr>
        <p:spPr>
          <a:xfrm>
            <a:off x="1960216" y="3799025"/>
            <a:ext cx="2485045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D9E95EB-D1E6-004F-B257-3FE864001B04}"/>
              </a:ext>
            </a:extLst>
          </p:cNvPr>
          <p:cNvCxnSpPr>
            <a:cxnSpLocks/>
          </p:cNvCxnSpPr>
          <p:nvPr/>
        </p:nvCxnSpPr>
        <p:spPr>
          <a:xfrm>
            <a:off x="3990418" y="2778611"/>
            <a:ext cx="433681" cy="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: Rounded Corners 6">
            <a:extLst>
              <a:ext uri="{FF2B5EF4-FFF2-40B4-BE49-F238E27FC236}">
                <a16:creationId xmlns:a16="http://schemas.microsoft.com/office/drawing/2014/main" id="{6B509933-FB34-0A4C-9016-5BB5E4B9447D}"/>
              </a:ext>
            </a:extLst>
          </p:cNvPr>
          <p:cNvSpPr/>
          <p:nvPr/>
        </p:nvSpPr>
        <p:spPr>
          <a:xfrm>
            <a:off x="1794062" y="5133249"/>
            <a:ext cx="1942009" cy="38548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8" name="Arrow: Right 9">
            <a:extLst>
              <a:ext uri="{FF2B5EF4-FFF2-40B4-BE49-F238E27FC236}">
                <a16:creationId xmlns:a16="http://schemas.microsoft.com/office/drawing/2014/main" id="{8909365F-26C1-B84E-929F-93CD5E85E4A7}"/>
              </a:ext>
            </a:extLst>
          </p:cNvPr>
          <p:cNvSpPr/>
          <p:nvPr/>
        </p:nvSpPr>
        <p:spPr>
          <a:xfrm>
            <a:off x="6078672" y="5230935"/>
            <a:ext cx="1501667" cy="178498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395D09C-9EF3-7A49-A911-745637CAA659}"/>
              </a:ext>
            </a:extLst>
          </p:cNvPr>
          <p:cNvSpPr txBox="1"/>
          <p:nvPr/>
        </p:nvSpPr>
        <p:spPr>
          <a:xfrm>
            <a:off x="3236485" y="5176584"/>
            <a:ext cx="594737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8.2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58E65B5-BAD6-A143-8734-643D548FE594}"/>
              </a:ext>
            </a:extLst>
          </p:cNvPr>
          <p:cNvSpPr txBox="1"/>
          <p:nvPr/>
        </p:nvSpPr>
        <p:spPr>
          <a:xfrm>
            <a:off x="3745904" y="5168606"/>
            <a:ext cx="682872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9.8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B344B4C-AE99-B843-B8EE-8E1C0067307E}"/>
              </a:ext>
            </a:extLst>
          </p:cNvPr>
          <p:cNvSpPr txBox="1"/>
          <p:nvPr/>
        </p:nvSpPr>
        <p:spPr>
          <a:xfrm>
            <a:off x="4220147" y="5164981"/>
            <a:ext cx="778321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6.8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3BF144E-4E12-0F44-9846-D6B6782283AA}"/>
              </a:ext>
            </a:extLst>
          </p:cNvPr>
          <p:cNvSpPr txBox="1"/>
          <p:nvPr/>
        </p:nvSpPr>
        <p:spPr>
          <a:xfrm>
            <a:off x="2773902" y="5177207"/>
            <a:ext cx="604241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8.3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7F8C1D1-200E-0B44-9ADF-D5377FA43C79}"/>
              </a:ext>
            </a:extLst>
          </p:cNvPr>
          <p:cNvSpPr txBox="1"/>
          <p:nvPr/>
        </p:nvSpPr>
        <p:spPr>
          <a:xfrm>
            <a:off x="2316517" y="5179744"/>
            <a:ext cx="604243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8.2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9DC8907-596C-0140-9AFA-AB1F388928B3}"/>
              </a:ext>
            </a:extLst>
          </p:cNvPr>
          <p:cNvSpPr txBox="1"/>
          <p:nvPr/>
        </p:nvSpPr>
        <p:spPr>
          <a:xfrm>
            <a:off x="1873831" y="5185117"/>
            <a:ext cx="701059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7.9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A0F52F2-C4E1-9E41-AB10-0A6340DF7699}"/>
              </a:ext>
            </a:extLst>
          </p:cNvPr>
          <p:cNvSpPr txBox="1"/>
          <p:nvPr/>
        </p:nvSpPr>
        <p:spPr>
          <a:xfrm>
            <a:off x="4507675" y="2988085"/>
            <a:ext cx="24544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 Transient spike </a:t>
            </a:r>
            <a:r>
              <a:rPr lang="en-US" sz="1600" dirty="0"/>
              <a:t>≥</a:t>
            </a:r>
            <a:r>
              <a:rPr lang="en-US" sz="1600" i="1" dirty="0"/>
              <a:t> 0.5 </a:t>
            </a:r>
            <a:r>
              <a:rPr lang="en-US" sz="1600" i="1" dirty="0" err="1"/>
              <a:t>ms</a:t>
            </a:r>
            <a:endParaRPr lang="en-US" sz="1600" i="1" dirty="0"/>
          </a:p>
          <a:p>
            <a:pPr algn="ctr"/>
            <a:r>
              <a:rPr lang="en-US" sz="1600" i="1" dirty="0">
                <a:solidFill>
                  <a:schemeClr val="bg1">
                    <a:lumMod val="50000"/>
                  </a:schemeClr>
                </a:solidFill>
              </a:rPr>
              <a:t>(unstable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C18956E-8E5A-EE4D-9C79-780ED18549BE}"/>
              </a:ext>
            </a:extLst>
          </p:cNvPr>
          <p:cNvSpPr txBox="1"/>
          <p:nvPr/>
        </p:nvSpPr>
        <p:spPr>
          <a:xfrm>
            <a:off x="5618829" y="5374229"/>
            <a:ext cx="2421365" cy="614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/>
              <a:t>Sliding window</a:t>
            </a:r>
          </a:p>
          <a:p>
            <a:pPr algn="ctr"/>
            <a:r>
              <a:rPr lang="en-US" sz="2000" i="1" dirty="0"/>
              <a:t>(running minimum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30E7763-77D9-1444-8D25-C77017B68E39}"/>
              </a:ext>
            </a:extLst>
          </p:cNvPr>
          <p:cNvSpPr txBox="1"/>
          <p:nvPr/>
        </p:nvSpPr>
        <p:spPr>
          <a:xfrm>
            <a:off x="-24550" y="5142709"/>
            <a:ext cx="1846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1-sec bin latency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3F9BD83-EF6E-7E4C-B44F-6844B876CFD3}"/>
              </a:ext>
            </a:extLst>
          </p:cNvPr>
          <p:cNvSpPr txBox="1"/>
          <p:nvPr/>
        </p:nvSpPr>
        <p:spPr>
          <a:xfrm>
            <a:off x="98737" y="5773666"/>
            <a:ext cx="174880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dirty="0"/>
              <a:t>Base propagatio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3C127A6-B2CD-634C-94F4-BAB7693FCE91}"/>
              </a:ext>
            </a:extLst>
          </p:cNvPr>
          <p:cNvSpPr txBox="1"/>
          <p:nvPr/>
        </p:nvSpPr>
        <p:spPr>
          <a:xfrm>
            <a:off x="3636045" y="4728491"/>
            <a:ext cx="735513" cy="32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w</a:t>
            </a:r>
            <a:r>
              <a:rPr lang="en-US" b="1" i="1" baseline="-25000" dirty="0"/>
              <a:t>n+1</a:t>
            </a:r>
            <a:endParaRPr lang="en-US" b="1" i="1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BE1731E-744F-6F42-B0AA-BC73BFB423F0}"/>
              </a:ext>
            </a:extLst>
          </p:cNvPr>
          <p:cNvSpPr txBox="1"/>
          <p:nvPr/>
        </p:nvSpPr>
        <p:spPr>
          <a:xfrm>
            <a:off x="3240400" y="4720319"/>
            <a:ext cx="735513" cy="32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 err="1"/>
              <a:t>w</a:t>
            </a:r>
            <a:r>
              <a:rPr lang="en-US" b="1" i="1" baseline="-25000" dirty="0" err="1"/>
              <a:t>n</a:t>
            </a:r>
            <a:endParaRPr lang="en-US" b="1" i="1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0A7C3E8-E60D-7946-8F42-80FD2C774530}"/>
              </a:ext>
            </a:extLst>
          </p:cNvPr>
          <p:cNvSpPr txBox="1"/>
          <p:nvPr/>
        </p:nvSpPr>
        <p:spPr>
          <a:xfrm>
            <a:off x="4148480" y="4723925"/>
            <a:ext cx="735513" cy="32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chemeClr val="bg1">
                    <a:lumMod val="50000"/>
                  </a:schemeClr>
                </a:solidFill>
              </a:rPr>
              <a:t>w</a:t>
            </a:r>
            <a:r>
              <a:rPr lang="en-US" b="1" i="1" baseline="-25000" dirty="0">
                <a:solidFill>
                  <a:schemeClr val="bg1">
                    <a:lumMod val="50000"/>
                  </a:schemeClr>
                </a:solidFill>
              </a:rPr>
              <a:t>n+2</a:t>
            </a:r>
            <a:endParaRPr lang="en-US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0F3E225-8BBB-2E4E-957D-94315CB7DB2B}"/>
              </a:ext>
            </a:extLst>
          </p:cNvPr>
          <p:cNvSpPr txBox="1"/>
          <p:nvPr/>
        </p:nvSpPr>
        <p:spPr>
          <a:xfrm>
            <a:off x="1753261" y="5798476"/>
            <a:ext cx="701059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/A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78E2548-1A6A-D24A-AE68-B894314A86C8}"/>
              </a:ext>
            </a:extLst>
          </p:cNvPr>
          <p:cNvSpPr txBox="1"/>
          <p:nvPr/>
        </p:nvSpPr>
        <p:spPr>
          <a:xfrm>
            <a:off x="2681544" y="5795938"/>
            <a:ext cx="604241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/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B17628F-2300-8949-99B2-388682D6E470}"/>
              </a:ext>
            </a:extLst>
          </p:cNvPr>
          <p:cNvSpPr txBox="1"/>
          <p:nvPr/>
        </p:nvSpPr>
        <p:spPr>
          <a:xfrm>
            <a:off x="2230149" y="5798476"/>
            <a:ext cx="604243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N/A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B4A0D21-476E-C64D-A311-65805892E5AE}"/>
              </a:ext>
            </a:extLst>
          </p:cNvPr>
          <p:cNvSpPr txBox="1"/>
          <p:nvPr/>
        </p:nvSpPr>
        <p:spPr>
          <a:xfrm>
            <a:off x="3168270" y="5786056"/>
            <a:ext cx="594737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7.9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DE2B478-AD70-0C4A-8264-A3246C71BC85}"/>
              </a:ext>
            </a:extLst>
          </p:cNvPr>
          <p:cNvSpPr txBox="1"/>
          <p:nvPr/>
        </p:nvSpPr>
        <p:spPr>
          <a:xfrm>
            <a:off x="4717832" y="5165037"/>
            <a:ext cx="778321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  7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F01CCBC-1692-EC43-AD1B-0B1A9E7A3E78}"/>
              </a:ext>
            </a:extLst>
          </p:cNvPr>
          <p:cNvSpPr txBox="1"/>
          <p:nvPr/>
        </p:nvSpPr>
        <p:spPr>
          <a:xfrm>
            <a:off x="5143874" y="4723815"/>
            <a:ext cx="735513" cy="32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w</a:t>
            </a:r>
            <a:r>
              <a:rPr lang="en-US" b="1" i="1" baseline="-25000" dirty="0"/>
              <a:t>n+4</a:t>
            </a:r>
            <a:endParaRPr lang="en-US" b="1" i="1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2C0619F-B19E-594F-8607-D3BC897A2D83}"/>
              </a:ext>
            </a:extLst>
          </p:cNvPr>
          <p:cNvSpPr txBox="1"/>
          <p:nvPr/>
        </p:nvSpPr>
        <p:spPr>
          <a:xfrm>
            <a:off x="3654339" y="5779968"/>
            <a:ext cx="594737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7.9</a:t>
            </a:r>
          </a:p>
        </p:txBody>
      </p:sp>
      <p:sp>
        <p:nvSpPr>
          <p:cNvPr id="79" name="Right Brace 78">
            <a:extLst>
              <a:ext uri="{FF2B5EF4-FFF2-40B4-BE49-F238E27FC236}">
                <a16:creationId xmlns:a16="http://schemas.microsoft.com/office/drawing/2014/main" id="{6F5E0CAE-98CE-2847-BFE5-C6411E237E2D}"/>
              </a:ext>
            </a:extLst>
          </p:cNvPr>
          <p:cNvSpPr/>
          <p:nvPr/>
        </p:nvSpPr>
        <p:spPr>
          <a:xfrm>
            <a:off x="4493992" y="2778611"/>
            <a:ext cx="115315" cy="1020414"/>
          </a:xfrm>
          <a:prstGeom prst="rightBrace">
            <a:avLst>
              <a:gd name="adj1" fmla="val 75336"/>
              <a:gd name="adj2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cxnSp>
        <p:nvCxnSpPr>
          <p:cNvPr id="80" name="Connector: Curved 118">
            <a:extLst>
              <a:ext uri="{FF2B5EF4-FFF2-40B4-BE49-F238E27FC236}">
                <a16:creationId xmlns:a16="http://schemas.microsoft.com/office/drawing/2014/main" id="{EB8FE074-F3D7-3143-9A0A-205642178E0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215297" y="5828050"/>
            <a:ext cx="2538" cy="457379"/>
          </a:xfrm>
          <a:prstGeom prst="curvedConnector3">
            <a:avLst>
              <a:gd name="adj1" fmla="val -7373634"/>
            </a:avLst>
          </a:prstGeom>
          <a:ln w="19050">
            <a:solidFill>
              <a:schemeClr val="tx1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Curved 125">
            <a:extLst>
              <a:ext uri="{FF2B5EF4-FFF2-40B4-BE49-F238E27FC236}">
                <a16:creationId xmlns:a16="http://schemas.microsoft.com/office/drawing/2014/main" id="{75091C62-390A-8242-A9E2-E1D68B79BBE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451350" y="5615137"/>
            <a:ext cx="12420" cy="939354"/>
          </a:xfrm>
          <a:prstGeom prst="curvedConnector3">
            <a:avLst>
              <a:gd name="adj1" fmla="val -2126709"/>
            </a:avLst>
          </a:prstGeom>
          <a:ln w="19050">
            <a:solidFill>
              <a:schemeClr val="tx1"/>
            </a:solidFill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rrow: Down 128">
            <a:extLst>
              <a:ext uri="{FF2B5EF4-FFF2-40B4-BE49-F238E27FC236}">
                <a16:creationId xmlns:a16="http://schemas.microsoft.com/office/drawing/2014/main" id="{2A6175FC-5289-A443-9E03-52AEBB158EB5}"/>
              </a:ext>
            </a:extLst>
          </p:cNvPr>
          <p:cNvSpPr/>
          <p:nvPr/>
        </p:nvSpPr>
        <p:spPr>
          <a:xfrm>
            <a:off x="3343593" y="5526711"/>
            <a:ext cx="219987" cy="31192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3" name="Arrow: Down 130">
            <a:extLst>
              <a:ext uri="{FF2B5EF4-FFF2-40B4-BE49-F238E27FC236}">
                <a16:creationId xmlns:a16="http://schemas.microsoft.com/office/drawing/2014/main" id="{0FC04FEB-3A73-4743-8095-33091A83F35F}"/>
              </a:ext>
            </a:extLst>
          </p:cNvPr>
          <p:cNvSpPr/>
          <p:nvPr/>
        </p:nvSpPr>
        <p:spPr>
          <a:xfrm>
            <a:off x="5388479" y="5516216"/>
            <a:ext cx="219987" cy="311927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73E7484-7AA0-AA4E-AE93-2C530BB98C53}"/>
              </a:ext>
            </a:extLst>
          </p:cNvPr>
          <p:cNvSpPr txBox="1"/>
          <p:nvPr/>
        </p:nvSpPr>
        <p:spPr>
          <a:xfrm>
            <a:off x="3285785" y="6296428"/>
            <a:ext cx="4649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Ignore output from </a:t>
            </a:r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stable</a:t>
            </a:r>
            <a:r>
              <a:rPr lang="en-US" sz="1400" i="1" dirty="0"/>
              <a:t> windows </a:t>
            </a:r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</a:t>
            </a:r>
            <a:r>
              <a:rPr lang="en-US" sz="1400" b="1" i="1" baseline="-25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+2</a:t>
            </a:r>
            <a:r>
              <a:rPr lang="en-US" sz="1400" b="1" i="1" baseline="-25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i="1" dirty="0"/>
              <a:t>and </a:t>
            </a:r>
            <a:r>
              <a:rPr lang="en-US" sz="14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</a:t>
            </a:r>
            <a:r>
              <a:rPr lang="en-US" sz="1400" b="1" i="1" baseline="-25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+3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sz="1400" i="1" dirty="0"/>
              <a:t>Replace missing output with last valid propagation delay</a:t>
            </a:r>
          </a:p>
        </p:txBody>
      </p:sp>
      <p:sp>
        <p:nvSpPr>
          <p:cNvPr id="85" name="Right Brace 84">
            <a:extLst>
              <a:ext uri="{FF2B5EF4-FFF2-40B4-BE49-F238E27FC236}">
                <a16:creationId xmlns:a16="http://schemas.microsoft.com/office/drawing/2014/main" id="{E51241CC-D51F-B047-8FF7-93A791B9BCD5}"/>
              </a:ext>
            </a:extLst>
          </p:cNvPr>
          <p:cNvSpPr/>
          <p:nvPr/>
        </p:nvSpPr>
        <p:spPr>
          <a:xfrm>
            <a:off x="5570237" y="4409075"/>
            <a:ext cx="57504" cy="195545"/>
          </a:xfrm>
          <a:prstGeom prst="rightBrace">
            <a:avLst>
              <a:gd name="adj1" fmla="val 75336"/>
              <a:gd name="adj2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146D317-F7FB-6246-8CB5-1081095691B9}"/>
              </a:ext>
            </a:extLst>
          </p:cNvPr>
          <p:cNvSpPr txBox="1"/>
          <p:nvPr/>
        </p:nvSpPr>
        <p:spPr>
          <a:xfrm>
            <a:off x="5519563" y="4216642"/>
            <a:ext cx="26181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Small variation &lt; 0.5 </a:t>
            </a:r>
            <a:r>
              <a:rPr lang="en-US" sz="1600" i="1" dirty="0" err="1"/>
              <a:t>ms</a:t>
            </a:r>
            <a:endParaRPr lang="en-US" sz="1600" i="1" dirty="0"/>
          </a:p>
          <a:p>
            <a:pPr algn="ctr"/>
            <a:r>
              <a:rPr lang="en-US" sz="1600" i="1" dirty="0"/>
              <a:t>(stable)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9999F56A-AE6D-3A42-A232-9A2ED41D22D5}"/>
              </a:ext>
            </a:extLst>
          </p:cNvPr>
          <p:cNvSpPr/>
          <p:nvPr/>
        </p:nvSpPr>
        <p:spPr>
          <a:xfrm>
            <a:off x="2291122" y="2917573"/>
            <a:ext cx="102628" cy="77423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240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035A4B3-3DD3-204D-A559-3A6C446B3998}"/>
              </a:ext>
            </a:extLst>
          </p:cNvPr>
          <p:cNvSpPr/>
          <p:nvPr/>
        </p:nvSpPr>
        <p:spPr>
          <a:xfrm>
            <a:off x="2670705" y="2977848"/>
            <a:ext cx="102628" cy="77423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240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81CB5188-7F01-1941-9936-7631D0DA591E}"/>
              </a:ext>
            </a:extLst>
          </p:cNvPr>
          <p:cNvSpPr/>
          <p:nvPr/>
        </p:nvSpPr>
        <p:spPr>
          <a:xfrm>
            <a:off x="2867198" y="3117846"/>
            <a:ext cx="102628" cy="77423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2400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4AFAF385-EF16-2041-B95F-754EC88F89AE}"/>
              </a:ext>
            </a:extLst>
          </p:cNvPr>
          <p:cNvSpPr/>
          <p:nvPr/>
        </p:nvSpPr>
        <p:spPr>
          <a:xfrm>
            <a:off x="2471011" y="3204968"/>
            <a:ext cx="102628" cy="77423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2400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DE731E05-AF51-434D-8302-0A00122C10F7}"/>
              </a:ext>
            </a:extLst>
          </p:cNvPr>
          <p:cNvSpPr/>
          <p:nvPr/>
        </p:nvSpPr>
        <p:spPr>
          <a:xfrm>
            <a:off x="3040461" y="2943563"/>
            <a:ext cx="102628" cy="77423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 sz="2400"/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36548DF5-578A-7C4A-B7BF-2A1AC97FFB71}"/>
              </a:ext>
            </a:extLst>
          </p:cNvPr>
          <p:cNvCxnSpPr>
            <a:cxnSpLocks/>
          </p:cNvCxnSpPr>
          <p:nvPr/>
        </p:nvCxnSpPr>
        <p:spPr>
          <a:xfrm flipH="1">
            <a:off x="2348207" y="2734180"/>
            <a:ext cx="186491" cy="2716"/>
          </a:xfrm>
          <a:prstGeom prst="line">
            <a:avLst/>
          </a:prstGeom>
          <a:ln>
            <a:solidFill>
              <a:schemeClr val="tx1"/>
            </a:solidFill>
            <a:prstDash val="dash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BFB61C11-3C07-D649-8B65-7EDA40F52A2B}"/>
              </a:ext>
            </a:extLst>
          </p:cNvPr>
          <p:cNvSpPr/>
          <p:nvPr/>
        </p:nvSpPr>
        <p:spPr>
          <a:xfrm>
            <a:off x="2510694" y="2620568"/>
            <a:ext cx="469897" cy="2271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i="1" dirty="0"/>
              <a:t>1 sec</a:t>
            </a:r>
            <a:endParaRPr lang="sv-SE" sz="1100" dirty="0"/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3AAB8783-0C57-B74C-A237-A84CAB00C2E4}"/>
              </a:ext>
            </a:extLst>
          </p:cNvPr>
          <p:cNvCxnSpPr>
            <a:cxnSpLocks/>
          </p:cNvCxnSpPr>
          <p:nvPr/>
        </p:nvCxnSpPr>
        <p:spPr>
          <a:xfrm flipH="1">
            <a:off x="2924692" y="2740947"/>
            <a:ext cx="186491" cy="2716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17CA3B18-E186-CC4B-A553-2226A72B6B25}"/>
              </a:ext>
            </a:extLst>
          </p:cNvPr>
          <p:cNvSpPr txBox="1"/>
          <p:nvPr/>
        </p:nvSpPr>
        <p:spPr>
          <a:xfrm>
            <a:off x="5236167" y="5158475"/>
            <a:ext cx="778321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7.1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21E3CC4-C2C0-EF41-9F72-FCA7FF3EC1F0}"/>
              </a:ext>
            </a:extLst>
          </p:cNvPr>
          <p:cNvSpPr txBox="1"/>
          <p:nvPr/>
        </p:nvSpPr>
        <p:spPr>
          <a:xfrm>
            <a:off x="4164264" y="5779968"/>
            <a:ext cx="594737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7.9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F036F8B2-7CE9-F14E-9D55-EB9CD6E93884}"/>
              </a:ext>
            </a:extLst>
          </p:cNvPr>
          <p:cNvSpPr txBox="1"/>
          <p:nvPr/>
        </p:nvSpPr>
        <p:spPr>
          <a:xfrm>
            <a:off x="4701105" y="5779968"/>
            <a:ext cx="594737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7.9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CF4FCF4-E8C4-3643-BA6E-3DC122A11BE5}"/>
              </a:ext>
            </a:extLst>
          </p:cNvPr>
          <p:cNvSpPr txBox="1"/>
          <p:nvPr/>
        </p:nvSpPr>
        <p:spPr>
          <a:xfrm>
            <a:off x="5198791" y="5779969"/>
            <a:ext cx="594737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6.8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69A04BF-A875-A94B-8449-02AEC95D170C}"/>
              </a:ext>
            </a:extLst>
          </p:cNvPr>
          <p:cNvSpPr txBox="1"/>
          <p:nvPr/>
        </p:nvSpPr>
        <p:spPr>
          <a:xfrm>
            <a:off x="4654271" y="4728499"/>
            <a:ext cx="735513" cy="32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chemeClr val="bg1">
                    <a:lumMod val="50000"/>
                  </a:schemeClr>
                </a:solidFill>
              </a:rPr>
              <a:t>w</a:t>
            </a:r>
            <a:r>
              <a:rPr lang="en-US" b="1" i="1" baseline="-25000" dirty="0">
                <a:solidFill>
                  <a:schemeClr val="bg1">
                    <a:lumMod val="50000"/>
                  </a:schemeClr>
                </a:solidFill>
              </a:rPr>
              <a:t>n+3</a:t>
            </a:r>
            <a:endParaRPr lang="en-US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6D6EF37-94DB-5B45-A805-2617579C9D95}"/>
              </a:ext>
            </a:extLst>
          </p:cNvPr>
          <p:cNvCxnSpPr>
            <a:cxnSpLocks/>
          </p:cNvCxnSpPr>
          <p:nvPr/>
        </p:nvCxnSpPr>
        <p:spPr>
          <a:xfrm>
            <a:off x="3114924" y="2698048"/>
            <a:ext cx="0" cy="10399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6FF13D7-C097-C947-A14D-0DCED4C5976F}"/>
              </a:ext>
            </a:extLst>
          </p:cNvPr>
          <p:cNvCxnSpPr>
            <a:cxnSpLocks/>
          </p:cNvCxnSpPr>
          <p:nvPr/>
        </p:nvCxnSpPr>
        <p:spPr>
          <a:xfrm>
            <a:off x="2351972" y="2690942"/>
            <a:ext cx="0" cy="103995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B3736B5C-811C-DC4A-B46B-2FBBCB1CF9B6}"/>
              </a:ext>
            </a:extLst>
          </p:cNvPr>
          <p:cNvCxnSpPr/>
          <p:nvPr/>
        </p:nvCxnSpPr>
        <p:spPr>
          <a:xfrm flipV="1">
            <a:off x="1786303" y="2605335"/>
            <a:ext cx="0" cy="20605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22C2CB17-60AC-9643-8787-206777C6FAE8}"/>
              </a:ext>
            </a:extLst>
          </p:cNvPr>
          <p:cNvSpPr txBox="1"/>
          <p:nvPr/>
        </p:nvSpPr>
        <p:spPr>
          <a:xfrm rot="16200000">
            <a:off x="885223" y="3879593"/>
            <a:ext cx="1435834" cy="305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latency (</a:t>
            </a:r>
            <a:r>
              <a:rPr lang="en-US" sz="1600" i="1" dirty="0" err="1"/>
              <a:t>ms</a:t>
            </a:r>
            <a:r>
              <a:rPr lang="en-US" sz="1600" i="1" dirty="0"/>
              <a:t>)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7ABBD198-8D59-B248-937D-7D5213FBCC4E}"/>
              </a:ext>
            </a:extLst>
          </p:cNvPr>
          <p:cNvCxnSpPr>
            <a:cxnSpLocks/>
          </p:cNvCxnSpPr>
          <p:nvPr/>
        </p:nvCxnSpPr>
        <p:spPr>
          <a:xfrm>
            <a:off x="1782665" y="4665714"/>
            <a:ext cx="3972013" cy="751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79D5D308-50EE-ED45-B539-E6B4E4EB3088}"/>
              </a:ext>
            </a:extLst>
          </p:cNvPr>
          <p:cNvSpPr txBox="1"/>
          <p:nvPr/>
        </p:nvSpPr>
        <p:spPr>
          <a:xfrm>
            <a:off x="1794494" y="4665743"/>
            <a:ext cx="1169099" cy="294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time (s)</a:t>
            </a:r>
          </a:p>
        </p:txBody>
      </p:sp>
      <p:graphicFrame>
        <p:nvGraphicFramePr>
          <p:cNvPr id="116" name="Chart 115">
            <a:extLst>
              <a:ext uri="{FF2B5EF4-FFF2-40B4-BE49-F238E27FC236}">
                <a16:creationId xmlns:a16="http://schemas.microsoft.com/office/drawing/2014/main" id="{D084E376-56CC-A149-A4B7-DFE1282B54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3325902"/>
              </p:ext>
            </p:extLst>
          </p:nvPr>
        </p:nvGraphicFramePr>
        <p:xfrm>
          <a:off x="1504984" y="2488879"/>
          <a:ext cx="5048218" cy="2401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58235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" grpId="0" animBg="1"/>
      <p:bldP spid="114" grpId="0" animBg="1"/>
      <p:bldP spid="114" grpId="1" animBg="1"/>
      <p:bldP spid="113" grpId="0" animBg="1"/>
      <p:bldP spid="113" grpId="1" animBg="1"/>
      <p:bldP spid="112" grpId="0" animBg="1"/>
      <p:bldP spid="112" grpId="1" animBg="1"/>
      <p:bldP spid="48" grpId="0"/>
      <p:bldP spid="49" grpId="0" animBg="1"/>
      <p:bldP spid="57" grpId="0" animBg="1"/>
      <p:bldP spid="57" grpId="1" animBg="1"/>
      <p:bldP spid="59" grpId="0"/>
      <p:bldP spid="60" grpId="0"/>
      <p:bldP spid="61" grpId="0"/>
      <p:bldP spid="62" grpId="0"/>
      <p:bldP spid="63" grpId="0"/>
      <p:bldP spid="64" grpId="0"/>
      <p:bldP spid="65" grpId="0"/>
      <p:bldP spid="69" grpId="0"/>
      <p:bldP spid="70" grpId="0"/>
      <p:bldP spid="71" grpId="0"/>
      <p:bldP spid="72" grpId="0"/>
      <p:bldP spid="73" grpId="0"/>
      <p:bldP spid="74" grpId="0"/>
      <p:bldP spid="75" grpId="0"/>
      <p:bldP spid="76" grpId="0"/>
      <p:bldP spid="77" grpId="0"/>
      <p:bldP spid="78" grpId="0"/>
      <p:bldP spid="79" grpId="0" animBg="1"/>
      <p:bldP spid="82" grpId="0" animBg="1"/>
      <p:bldP spid="83" grpId="0" animBg="1"/>
      <p:bldP spid="84" grpId="0"/>
      <p:bldP spid="85" grpId="0" animBg="1"/>
      <p:bldP spid="86" grpId="0"/>
      <p:bldP spid="87" grpId="0" animBg="1"/>
      <p:bldP spid="88" grpId="0" animBg="1"/>
      <p:bldP spid="89" grpId="0" animBg="1"/>
      <p:bldP spid="90" grpId="0" animBg="1"/>
      <p:bldP spid="91" grpId="0" animBg="1"/>
      <p:bldP spid="93" grpId="0"/>
      <p:bldP spid="95" grpId="0"/>
      <p:bldP spid="96" grpId="0"/>
      <p:bldP spid="97" grpId="0"/>
      <p:bldP spid="98" grpId="0"/>
      <p:bldP spid="9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Content Placeholder 1">
            <a:extLst>
              <a:ext uri="{FF2B5EF4-FFF2-40B4-BE49-F238E27FC236}">
                <a16:creationId xmlns:a16="http://schemas.microsoft.com/office/drawing/2014/main" id="{DF5F72DD-31C9-1B4D-9BB9-29159B7DB6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2213" y="1595439"/>
            <a:ext cx="3600450" cy="4078286"/>
          </a:xfrm>
        </p:spPr>
        <p:txBody>
          <a:bodyPr/>
          <a:lstStyle/>
          <a:p>
            <a:r>
              <a:rPr lang="sv-SE" dirty="0" err="1"/>
              <a:t>Extract</a:t>
            </a:r>
            <a:r>
              <a:rPr lang="sv-SE" dirty="0"/>
              <a:t> </a:t>
            </a:r>
            <a:r>
              <a:rPr lang="sv-SE" dirty="0" err="1"/>
              <a:t>base</a:t>
            </a:r>
            <a:r>
              <a:rPr lang="sv-SE" dirty="0"/>
              <a:t> </a:t>
            </a:r>
            <a:r>
              <a:rPr lang="sv-SE" dirty="0" err="1"/>
              <a:t>propagation</a:t>
            </a:r>
            <a:r>
              <a:rPr lang="sv-SE" dirty="0"/>
              <a:t> </a:t>
            </a:r>
            <a:r>
              <a:rPr lang="sv-SE" dirty="0" err="1"/>
              <a:t>latency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filter </a:t>
            </a:r>
            <a:r>
              <a:rPr lang="sv-SE" dirty="0" err="1"/>
              <a:t>congestion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rely</a:t>
            </a:r>
            <a:r>
              <a:rPr lang="sv-SE" dirty="0"/>
              <a:t> on variations </a:t>
            </a:r>
            <a:r>
              <a:rPr lang="sv-SE" dirty="0" err="1"/>
              <a:t>of</a:t>
            </a:r>
            <a:r>
              <a:rPr lang="sv-SE" dirty="0"/>
              <a:t> a </a:t>
            </a:r>
            <a:r>
              <a:rPr lang="sv-SE" dirty="0" err="1"/>
              <a:t>rolling</a:t>
            </a:r>
            <a:r>
              <a:rPr lang="sv-SE" dirty="0"/>
              <a:t>-minimum </a:t>
            </a:r>
            <a:r>
              <a:rPr lang="sv-SE" dirty="0" err="1"/>
              <a:t>mechanism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3E492890-4773-D04D-95F3-87FFBE237E6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49156"/>
          <a:stretch/>
        </p:blipFill>
        <p:spPr>
          <a:xfrm>
            <a:off x="141514" y="1196975"/>
            <a:ext cx="8564539" cy="4284001"/>
          </a:xfrm>
          <a:prstGeom prst="rect">
            <a:avLst/>
          </a:prstGeom>
        </p:spPr>
      </p:pic>
      <p:sp>
        <p:nvSpPr>
          <p:cNvPr id="92" name="Rectangle 91">
            <a:extLst>
              <a:ext uri="{FF2B5EF4-FFF2-40B4-BE49-F238E27FC236}">
                <a16:creationId xmlns:a16="http://schemas.microsoft.com/office/drawing/2014/main" id="{F3C86223-B584-3542-B3DB-D6A984B00D5F}"/>
              </a:ext>
            </a:extLst>
          </p:cNvPr>
          <p:cNvSpPr/>
          <p:nvPr/>
        </p:nvSpPr>
        <p:spPr>
          <a:xfrm>
            <a:off x="3500196" y="1711939"/>
            <a:ext cx="92202" cy="2109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4A4A92E-A410-C648-BE88-55040427C0E7}"/>
              </a:ext>
            </a:extLst>
          </p:cNvPr>
          <p:cNvSpPr/>
          <p:nvPr/>
        </p:nvSpPr>
        <p:spPr>
          <a:xfrm>
            <a:off x="4032393" y="1711939"/>
            <a:ext cx="92202" cy="1837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D453211-93D5-E94C-9F26-38A14B8D3118}"/>
              </a:ext>
            </a:extLst>
          </p:cNvPr>
          <p:cNvSpPr/>
          <p:nvPr/>
        </p:nvSpPr>
        <p:spPr>
          <a:xfrm>
            <a:off x="2679159" y="1711939"/>
            <a:ext cx="4724264" cy="633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63CFBAD4-275D-5943-854F-F0F5630BB2D4}"/>
              </a:ext>
            </a:extLst>
          </p:cNvPr>
          <p:cNvSpPr/>
          <p:nvPr/>
        </p:nvSpPr>
        <p:spPr>
          <a:xfrm>
            <a:off x="2679159" y="2313556"/>
            <a:ext cx="2253830" cy="633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2747A65-4D5A-194E-991F-3FD71848E167}"/>
              </a:ext>
            </a:extLst>
          </p:cNvPr>
          <p:cNvSpPr/>
          <p:nvPr/>
        </p:nvSpPr>
        <p:spPr>
          <a:xfrm>
            <a:off x="4356767" y="2848235"/>
            <a:ext cx="439058" cy="789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42272B0D-5C21-DA4D-95FC-501C7750C1B6}"/>
              </a:ext>
            </a:extLst>
          </p:cNvPr>
          <p:cNvSpPr/>
          <p:nvPr/>
        </p:nvSpPr>
        <p:spPr>
          <a:xfrm>
            <a:off x="4213748" y="2831274"/>
            <a:ext cx="114071" cy="789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B369CD1-7EE2-7946-B7E3-5EE97D8CB630}"/>
              </a:ext>
            </a:extLst>
          </p:cNvPr>
          <p:cNvSpPr/>
          <p:nvPr/>
        </p:nvSpPr>
        <p:spPr>
          <a:xfrm>
            <a:off x="7286187" y="2291228"/>
            <a:ext cx="92204" cy="1297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9E166A5-5AD0-7C47-AA0C-0A755919A31F}"/>
              </a:ext>
            </a:extLst>
          </p:cNvPr>
          <p:cNvSpPr/>
          <p:nvPr/>
        </p:nvSpPr>
        <p:spPr>
          <a:xfrm>
            <a:off x="7286185" y="2365548"/>
            <a:ext cx="33189" cy="1297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9B05DA4-6778-564D-AD10-C81A8005794B}"/>
              </a:ext>
            </a:extLst>
          </p:cNvPr>
          <p:cNvSpPr/>
          <p:nvPr/>
        </p:nvSpPr>
        <p:spPr>
          <a:xfrm>
            <a:off x="7108739" y="4321421"/>
            <a:ext cx="487869" cy="249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1E2DEDB-D02C-1042-B8C3-43EF620A2E06}"/>
              </a:ext>
            </a:extLst>
          </p:cNvPr>
          <p:cNvSpPr/>
          <p:nvPr/>
        </p:nvSpPr>
        <p:spPr>
          <a:xfrm>
            <a:off x="4193494" y="3851972"/>
            <a:ext cx="134326" cy="633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CBE799E8-A06D-C14C-9592-08CF8A2C9009}"/>
              </a:ext>
            </a:extLst>
          </p:cNvPr>
          <p:cNvSpPr/>
          <p:nvPr/>
        </p:nvSpPr>
        <p:spPr>
          <a:xfrm>
            <a:off x="4222442" y="4291710"/>
            <a:ext cx="265635" cy="2789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17A77C3-2964-D04A-BAC7-07DDA5AE6034}"/>
              </a:ext>
            </a:extLst>
          </p:cNvPr>
          <p:cNvSpPr/>
          <p:nvPr/>
        </p:nvSpPr>
        <p:spPr>
          <a:xfrm>
            <a:off x="1687249" y="4475736"/>
            <a:ext cx="2422771" cy="954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D70C15D-B893-7A45-B582-FAE9B48F843A}"/>
              </a:ext>
            </a:extLst>
          </p:cNvPr>
          <p:cNvSpPr/>
          <p:nvPr/>
        </p:nvSpPr>
        <p:spPr>
          <a:xfrm>
            <a:off x="1755168" y="4282715"/>
            <a:ext cx="550183" cy="203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81E7073-6BAF-7743-B49E-B2B3EF84F8AB}"/>
              </a:ext>
            </a:extLst>
          </p:cNvPr>
          <p:cNvSpPr/>
          <p:nvPr/>
        </p:nvSpPr>
        <p:spPr>
          <a:xfrm>
            <a:off x="2134830" y="3842935"/>
            <a:ext cx="164667" cy="551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2DA3581-1411-A74A-8699-F7507C6A63B4}"/>
              </a:ext>
            </a:extLst>
          </p:cNvPr>
          <p:cNvSpPr/>
          <p:nvPr/>
        </p:nvSpPr>
        <p:spPr>
          <a:xfrm>
            <a:off x="1854815" y="1711938"/>
            <a:ext cx="33189" cy="1908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DF29D82-64C1-F248-A097-D3E0590AA1C7}"/>
              </a:ext>
            </a:extLst>
          </p:cNvPr>
          <p:cNvSpPr/>
          <p:nvPr/>
        </p:nvSpPr>
        <p:spPr>
          <a:xfrm>
            <a:off x="2264164" y="1711938"/>
            <a:ext cx="33189" cy="1628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A46AA6B-9AEF-7144-8462-228D69338A77}"/>
              </a:ext>
            </a:extLst>
          </p:cNvPr>
          <p:cNvSpPr/>
          <p:nvPr/>
        </p:nvSpPr>
        <p:spPr>
          <a:xfrm>
            <a:off x="2329203" y="1711938"/>
            <a:ext cx="33189" cy="1628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FFD70951-468C-9242-AFB0-A8243D757077}"/>
              </a:ext>
            </a:extLst>
          </p:cNvPr>
          <p:cNvSpPr/>
          <p:nvPr/>
        </p:nvSpPr>
        <p:spPr>
          <a:xfrm>
            <a:off x="2337480" y="1990089"/>
            <a:ext cx="33189" cy="16281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33FFB468-10BF-6C46-BCB1-2DBC9E3F3CF6}"/>
              </a:ext>
            </a:extLst>
          </p:cNvPr>
          <p:cNvSpPr/>
          <p:nvPr/>
        </p:nvSpPr>
        <p:spPr>
          <a:xfrm>
            <a:off x="1210565" y="1697085"/>
            <a:ext cx="7203574" cy="2872731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A97DA1-1F8D-3F4F-B8EA-C9E20C2FCB62}"/>
              </a:ext>
            </a:extLst>
          </p:cNvPr>
          <p:cNvSpPr/>
          <p:nvPr/>
        </p:nvSpPr>
        <p:spPr>
          <a:xfrm>
            <a:off x="5551124" y="1539502"/>
            <a:ext cx="899903" cy="424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BEEF7-94E4-3B48-AF3A-7EA894910E20}"/>
              </a:ext>
            </a:extLst>
          </p:cNvPr>
          <p:cNvSpPr/>
          <p:nvPr/>
        </p:nvSpPr>
        <p:spPr>
          <a:xfrm>
            <a:off x="173783" y="739039"/>
            <a:ext cx="247772" cy="1080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5BAA7A-0525-554C-B779-A2F119AD2DDA}"/>
              </a:ext>
            </a:extLst>
          </p:cNvPr>
          <p:cNvSpPr/>
          <p:nvPr/>
        </p:nvSpPr>
        <p:spPr>
          <a:xfrm>
            <a:off x="227179" y="1488841"/>
            <a:ext cx="489979" cy="475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96725B69-C921-B74D-A450-32A9912216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" t="52469" r="17" b="-1110"/>
          <a:stretch/>
        </p:blipFill>
        <p:spPr>
          <a:xfrm>
            <a:off x="141514" y="1046007"/>
            <a:ext cx="8568000" cy="4481032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21D44FAA-7057-694C-8AEC-AC1161F45F4B}"/>
              </a:ext>
            </a:extLst>
          </p:cNvPr>
          <p:cNvSpPr/>
          <p:nvPr/>
        </p:nvSpPr>
        <p:spPr>
          <a:xfrm>
            <a:off x="1791168" y="1729045"/>
            <a:ext cx="6102703" cy="1813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4A42B62-F1F7-BE45-B600-D6D28DE4800C}"/>
              </a:ext>
            </a:extLst>
          </p:cNvPr>
          <p:cNvSpPr/>
          <p:nvPr/>
        </p:nvSpPr>
        <p:spPr>
          <a:xfrm>
            <a:off x="6728434" y="2989960"/>
            <a:ext cx="376712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A22CA77-8B77-9940-B36E-BF1FB0F2AEF3}"/>
              </a:ext>
            </a:extLst>
          </p:cNvPr>
          <p:cNvSpPr/>
          <p:nvPr/>
        </p:nvSpPr>
        <p:spPr>
          <a:xfrm>
            <a:off x="7300277" y="3006201"/>
            <a:ext cx="247396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D8FD482-73AA-4F48-9048-2E8732BF7DDB}"/>
              </a:ext>
            </a:extLst>
          </p:cNvPr>
          <p:cNvSpPr/>
          <p:nvPr/>
        </p:nvSpPr>
        <p:spPr>
          <a:xfrm>
            <a:off x="4303243" y="2952064"/>
            <a:ext cx="247396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A35D22B-12D1-F444-B1A6-8F5C593B9901}"/>
              </a:ext>
            </a:extLst>
          </p:cNvPr>
          <p:cNvSpPr/>
          <p:nvPr/>
        </p:nvSpPr>
        <p:spPr>
          <a:xfrm>
            <a:off x="3425402" y="3146960"/>
            <a:ext cx="247396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400ED18-9DF1-4E40-A36B-20E22CFFFA61}"/>
              </a:ext>
            </a:extLst>
          </p:cNvPr>
          <p:cNvSpPr/>
          <p:nvPr/>
        </p:nvSpPr>
        <p:spPr>
          <a:xfrm>
            <a:off x="2636678" y="3134012"/>
            <a:ext cx="247396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C963DF4-7A4B-BE46-9402-9650C4C92525}"/>
              </a:ext>
            </a:extLst>
          </p:cNvPr>
          <p:cNvSpPr/>
          <p:nvPr/>
        </p:nvSpPr>
        <p:spPr>
          <a:xfrm>
            <a:off x="2706580" y="3168614"/>
            <a:ext cx="247396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E9FF45E-9CC0-9243-A478-DA1F7FCF4769}"/>
              </a:ext>
            </a:extLst>
          </p:cNvPr>
          <p:cNvSpPr/>
          <p:nvPr/>
        </p:nvSpPr>
        <p:spPr>
          <a:xfrm>
            <a:off x="2329637" y="3146960"/>
            <a:ext cx="247396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9FAF040-FD0D-EE40-B2CE-0FCF4687DDA4}"/>
              </a:ext>
            </a:extLst>
          </p:cNvPr>
          <p:cNvSpPr/>
          <p:nvPr/>
        </p:nvSpPr>
        <p:spPr>
          <a:xfrm>
            <a:off x="1679699" y="2937604"/>
            <a:ext cx="247396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A6204F6-CD7B-574B-A78B-65FB9B0DE00A}"/>
              </a:ext>
            </a:extLst>
          </p:cNvPr>
          <p:cNvSpPr/>
          <p:nvPr/>
        </p:nvSpPr>
        <p:spPr>
          <a:xfrm>
            <a:off x="1788307" y="2998079"/>
            <a:ext cx="109277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4EBD8BC-72E4-B040-9A1F-14170320C7A4}"/>
              </a:ext>
            </a:extLst>
          </p:cNvPr>
          <p:cNvSpPr/>
          <p:nvPr/>
        </p:nvSpPr>
        <p:spPr>
          <a:xfrm>
            <a:off x="1820679" y="2952062"/>
            <a:ext cx="109277" cy="6983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AEFFCB0-CA82-B948-AA07-9EA95A5401D1}"/>
              </a:ext>
            </a:extLst>
          </p:cNvPr>
          <p:cNvSpPr/>
          <p:nvPr/>
        </p:nvSpPr>
        <p:spPr>
          <a:xfrm>
            <a:off x="1820679" y="4289253"/>
            <a:ext cx="158154" cy="27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637E368-F0A3-CF4B-B812-DD8927B8DC71}"/>
              </a:ext>
            </a:extLst>
          </p:cNvPr>
          <p:cNvSpPr/>
          <p:nvPr/>
        </p:nvSpPr>
        <p:spPr>
          <a:xfrm>
            <a:off x="2171482" y="3845329"/>
            <a:ext cx="158154" cy="718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1BC4C6B-8D46-004A-859C-4A2D7DD2F0BD}"/>
              </a:ext>
            </a:extLst>
          </p:cNvPr>
          <p:cNvSpPr/>
          <p:nvPr/>
        </p:nvSpPr>
        <p:spPr>
          <a:xfrm>
            <a:off x="6843567" y="4325896"/>
            <a:ext cx="564217" cy="237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6B517D7-FACE-B140-8B7D-4239B6DC2524}"/>
              </a:ext>
            </a:extLst>
          </p:cNvPr>
          <p:cNvSpPr/>
          <p:nvPr/>
        </p:nvSpPr>
        <p:spPr>
          <a:xfrm>
            <a:off x="4056657" y="3382744"/>
            <a:ext cx="128189" cy="44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509302B-A70B-8E46-986D-0BCA2C609B0B}"/>
              </a:ext>
            </a:extLst>
          </p:cNvPr>
          <p:cNvSpPr/>
          <p:nvPr/>
        </p:nvSpPr>
        <p:spPr>
          <a:xfrm>
            <a:off x="2266450" y="4473321"/>
            <a:ext cx="2374150" cy="90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7FA3605-F40D-DA47-A41E-9AA76BA35001}"/>
              </a:ext>
            </a:extLst>
          </p:cNvPr>
          <p:cNvSpPr/>
          <p:nvPr/>
        </p:nvSpPr>
        <p:spPr>
          <a:xfrm>
            <a:off x="4303243" y="4294663"/>
            <a:ext cx="188018" cy="2376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9381FFB-45AC-ED4F-AC3A-40402C4C1833}"/>
              </a:ext>
            </a:extLst>
          </p:cNvPr>
          <p:cNvSpPr/>
          <p:nvPr/>
        </p:nvSpPr>
        <p:spPr>
          <a:xfrm>
            <a:off x="1219242" y="1728522"/>
            <a:ext cx="7206485" cy="2843044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1D2A111-A107-6345-9517-7E30133DC411}"/>
              </a:ext>
            </a:extLst>
          </p:cNvPr>
          <p:cNvSpPr/>
          <p:nvPr/>
        </p:nvSpPr>
        <p:spPr>
          <a:xfrm>
            <a:off x="3063492" y="2197663"/>
            <a:ext cx="3495046" cy="707886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esting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rt:</a:t>
            </a:r>
            <a:b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these really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h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ges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sv-SE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Title 3">
            <a:extLst>
              <a:ext uri="{FF2B5EF4-FFF2-40B4-BE49-F238E27FC236}">
                <a16:creationId xmlns:a16="http://schemas.microsoft.com/office/drawing/2014/main" id="{9509055B-266E-6A44-8A53-3CF5EA14FA50}"/>
              </a:ext>
            </a:extLst>
          </p:cNvPr>
          <p:cNvSpPr txBox="1">
            <a:spLocks/>
          </p:cNvSpPr>
          <p:nvPr/>
        </p:nvSpPr>
        <p:spPr>
          <a:xfrm>
            <a:off x="1620000" y="403200"/>
            <a:ext cx="6935788" cy="66833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sv-SE" dirty="0"/>
              <a:t>The </a:t>
            </a:r>
            <a:r>
              <a:rPr lang="sv-SE" dirty="0" err="1"/>
              <a:t>technical</a:t>
            </a:r>
            <a:r>
              <a:rPr lang="sv-SE" dirty="0"/>
              <a:t> part:</a:t>
            </a:r>
            <a:br>
              <a:rPr lang="sv-SE" dirty="0"/>
            </a:br>
            <a:r>
              <a:rPr lang="sv-SE" dirty="0" err="1"/>
              <a:t>Extracting</a:t>
            </a:r>
            <a:r>
              <a:rPr lang="sv-SE" dirty="0"/>
              <a:t> </a:t>
            </a:r>
            <a:r>
              <a:rPr lang="sv-SE" dirty="0" err="1"/>
              <a:t>base</a:t>
            </a:r>
            <a:r>
              <a:rPr lang="sv-SE" dirty="0"/>
              <a:t> </a:t>
            </a:r>
            <a:r>
              <a:rPr lang="sv-SE" dirty="0" err="1"/>
              <a:t>propagation</a:t>
            </a:r>
            <a:r>
              <a:rPr lang="sv-SE" dirty="0"/>
              <a:t> </a:t>
            </a:r>
            <a:r>
              <a:rPr lang="sv-SE" dirty="0" err="1"/>
              <a:t>latency</a:t>
            </a:r>
            <a:endParaRPr lang="sv-S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BC750F-8BAD-5149-BDE0-265096A1C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4</a:t>
            </a:fld>
            <a:endParaRPr lang="sv-S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FE839E-038F-C64D-BA66-BB51AF598307}"/>
              </a:ext>
            </a:extLst>
          </p:cNvPr>
          <p:cNvSpPr/>
          <p:nvPr/>
        </p:nvSpPr>
        <p:spPr>
          <a:xfrm>
            <a:off x="4932989" y="1196975"/>
            <a:ext cx="2960882" cy="3984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012D83-4377-D048-BAD3-DC1F3AE15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5" name="Title 3">
            <a:extLst>
              <a:ext uri="{FF2B5EF4-FFF2-40B4-BE49-F238E27FC236}">
                <a16:creationId xmlns:a16="http://schemas.microsoft.com/office/drawing/2014/main" id="{D8B00875-4A5F-564D-A0EF-1325CA59C8AA}"/>
              </a:ext>
            </a:extLst>
          </p:cNvPr>
          <p:cNvSpPr txBox="1">
            <a:spLocks/>
          </p:cNvSpPr>
          <p:nvPr/>
        </p:nvSpPr>
        <p:spPr>
          <a:xfrm>
            <a:off x="1619250" y="404870"/>
            <a:ext cx="6935788" cy="66833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The filtered base propagation latency</a:t>
            </a:r>
            <a:endParaRPr lang="sv-SE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D98BC59-1EBC-904D-840F-FCF41CF002A8}"/>
              </a:ext>
            </a:extLst>
          </p:cNvPr>
          <p:cNvSpPr/>
          <p:nvPr/>
        </p:nvSpPr>
        <p:spPr>
          <a:xfrm>
            <a:off x="1533646" y="225706"/>
            <a:ext cx="2899458" cy="381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353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7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2" grpId="0" animBg="1"/>
      <p:bldP spid="111" grpId="0" animBg="1"/>
      <p:bldP spid="65" grpId="0" animBg="1"/>
      <p:bldP spid="6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9261" y="404870"/>
            <a:ext cx="7808458" cy="668338"/>
          </a:xfrm>
        </p:spPr>
        <p:txBody>
          <a:bodyPr/>
          <a:lstStyle/>
          <a:p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Key</a:t>
            </a:r>
            <a:r>
              <a:rPr lang="sv-SE" dirty="0"/>
              <a:t> 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intuition</a:t>
            </a:r>
            <a:r>
              <a:rPr lang="sv-SE" dirty="0"/>
              <a:t>: a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</a:t>
            </a:r>
            <a:r>
              <a:rPr lang="sv-SE" dirty="0"/>
              <a:t> from a </a:t>
            </a:r>
            <a:r>
              <a:rPr lang="sv-SE" dirty="0" err="1">
                <a:solidFill>
                  <a:srgbClr val="FF0000"/>
                </a:solidFill>
              </a:rPr>
              <a:t>high</a:t>
            </a:r>
            <a:r>
              <a:rPr lang="sv-SE" dirty="0"/>
              <a:t> to a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low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auses</a:t>
            </a:r>
            <a:r>
              <a:rPr lang="sv-SE" dirty="0"/>
              <a:t> </a:t>
            </a:r>
            <a:r>
              <a:rPr lang="sv-SE" dirty="0">
                <a:solidFill>
                  <a:srgbClr val="FF0000"/>
                </a:solidFill>
              </a:rPr>
              <a:t>packet </a:t>
            </a:r>
            <a:r>
              <a:rPr lang="sv-SE" dirty="0" err="1">
                <a:solidFill>
                  <a:srgbClr val="FF0000"/>
                </a:solidFill>
              </a:rPr>
              <a:t>reordering</a:t>
            </a:r>
            <a:endParaRPr lang="sv-SE" dirty="0">
              <a:solidFill>
                <a:srgbClr val="FF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3E5D74-A76E-4440-B412-7E8B828F6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47" y="1073208"/>
            <a:ext cx="9144000" cy="5239657"/>
          </a:xfrm>
          <a:prstGeom prst="rect">
            <a:avLst/>
          </a:prstGeom>
        </p:spPr>
      </p:pic>
      <p:sp>
        <p:nvSpPr>
          <p:cNvPr id="8" name="Freeform 7">
            <a:extLst>
              <a:ext uri="{FF2B5EF4-FFF2-40B4-BE49-F238E27FC236}">
                <a16:creationId xmlns:a16="http://schemas.microsoft.com/office/drawing/2014/main" id="{2941178F-18E6-1E41-89C4-4DFB203A4F67}"/>
              </a:ext>
            </a:extLst>
          </p:cNvPr>
          <p:cNvSpPr/>
          <p:nvPr/>
        </p:nvSpPr>
        <p:spPr>
          <a:xfrm>
            <a:off x="373626" y="1424575"/>
            <a:ext cx="7483739" cy="1852699"/>
          </a:xfrm>
          <a:custGeom>
            <a:avLst/>
            <a:gdLst>
              <a:gd name="connsiteX0" fmla="*/ 0 w 6823587"/>
              <a:gd name="connsiteY0" fmla="*/ 679528 h 2124870"/>
              <a:gd name="connsiteX1" fmla="*/ 3185651 w 6823587"/>
              <a:gd name="connsiteY1" fmla="*/ 69928 h 2124870"/>
              <a:gd name="connsiteX2" fmla="*/ 6823587 w 6823587"/>
              <a:gd name="connsiteY2" fmla="*/ 2124870 h 212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23587" h="2124870">
                <a:moveTo>
                  <a:pt x="0" y="679528"/>
                </a:moveTo>
                <a:cubicBezTo>
                  <a:pt x="1024193" y="254283"/>
                  <a:pt x="2048387" y="-170962"/>
                  <a:pt x="3185651" y="69928"/>
                </a:cubicBezTo>
                <a:cubicBezTo>
                  <a:pt x="4322915" y="310818"/>
                  <a:pt x="5573251" y="1217844"/>
                  <a:pt x="6823587" y="2124870"/>
                </a:cubicBezTo>
              </a:path>
            </a:pathLst>
          </a:custGeom>
          <a:ln w="44450">
            <a:solidFill>
              <a:srgbClr val="FF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5480BACC-0310-4146-AC94-91746C7E460C}"/>
              </a:ext>
            </a:extLst>
          </p:cNvPr>
          <p:cNvSpPr/>
          <p:nvPr/>
        </p:nvSpPr>
        <p:spPr>
          <a:xfrm>
            <a:off x="171450" y="1663700"/>
            <a:ext cx="7861300" cy="3079750"/>
          </a:xfrm>
          <a:custGeom>
            <a:avLst/>
            <a:gdLst>
              <a:gd name="connsiteX0" fmla="*/ 209550 w 7861300"/>
              <a:gd name="connsiteY0" fmla="*/ 412750 h 3079750"/>
              <a:gd name="connsiteX1" fmla="*/ 298450 w 7861300"/>
              <a:gd name="connsiteY1" fmla="*/ 285750 h 3079750"/>
              <a:gd name="connsiteX2" fmla="*/ 774700 w 7861300"/>
              <a:gd name="connsiteY2" fmla="*/ 247650 h 3079750"/>
              <a:gd name="connsiteX3" fmla="*/ 1193800 w 7861300"/>
              <a:gd name="connsiteY3" fmla="*/ 819150 h 3079750"/>
              <a:gd name="connsiteX4" fmla="*/ 1822450 w 7861300"/>
              <a:gd name="connsiteY4" fmla="*/ 1174750 h 3079750"/>
              <a:gd name="connsiteX5" fmla="*/ 1879600 w 7861300"/>
              <a:gd name="connsiteY5" fmla="*/ 1435100 h 3079750"/>
              <a:gd name="connsiteX6" fmla="*/ 2197100 w 7861300"/>
              <a:gd name="connsiteY6" fmla="*/ 1771650 h 3079750"/>
              <a:gd name="connsiteX7" fmla="*/ 3060700 w 7861300"/>
              <a:gd name="connsiteY7" fmla="*/ 1663700 h 3079750"/>
              <a:gd name="connsiteX8" fmla="*/ 3092450 w 7861300"/>
              <a:gd name="connsiteY8" fmla="*/ 2159000 h 3079750"/>
              <a:gd name="connsiteX9" fmla="*/ 3536950 w 7861300"/>
              <a:gd name="connsiteY9" fmla="*/ 2425700 h 3079750"/>
              <a:gd name="connsiteX10" fmla="*/ 3581400 w 7861300"/>
              <a:gd name="connsiteY10" fmla="*/ 2578100 h 3079750"/>
              <a:gd name="connsiteX11" fmla="*/ 4343400 w 7861300"/>
              <a:gd name="connsiteY11" fmla="*/ 3079750 h 3079750"/>
              <a:gd name="connsiteX12" fmla="*/ 4667250 w 7861300"/>
              <a:gd name="connsiteY12" fmla="*/ 3073400 h 3079750"/>
              <a:gd name="connsiteX13" fmla="*/ 5181600 w 7861300"/>
              <a:gd name="connsiteY13" fmla="*/ 2781300 h 3079750"/>
              <a:gd name="connsiteX14" fmla="*/ 5276850 w 7861300"/>
              <a:gd name="connsiteY14" fmla="*/ 2698750 h 3079750"/>
              <a:gd name="connsiteX15" fmla="*/ 6210300 w 7861300"/>
              <a:gd name="connsiteY15" fmla="*/ 2406650 h 3079750"/>
              <a:gd name="connsiteX16" fmla="*/ 6623050 w 7861300"/>
              <a:gd name="connsiteY16" fmla="*/ 2444750 h 3079750"/>
              <a:gd name="connsiteX17" fmla="*/ 7315200 w 7861300"/>
              <a:gd name="connsiteY17" fmla="*/ 2133600 h 3079750"/>
              <a:gd name="connsiteX18" fmla="*/ 7550150 w 7861300"/>
              <a:gd name="connsiteY18" fmla="*/ 1828800 h 3079750"/>
              <a:gd name="connsiteX19" fmla="*/ 7861300 w 7861300"/>
              <a:gd name="connsiteY19" fmla="*/ 1790700 h 3079750"/>
              <a:gd name="connsiteX20" fmla="*/ 7829550 w 7861300"/>
              <a:gd name="connsiteY20" fmla="*/ 1568450 h 3079750"/>
              <a:gd name="connsiteX21" fmla="*/ 7435850 w 7861300"/>
              <a:gd name="connsiteY21" fmla="*/ 1593850 h 3079750"/>
              <a:gd name="connsiteX22" fmla="*/ 7232650 w 7861300"/>
              <a:gd name="connsiteY22" fmla="*/ 1930400 h 3079750"/>
              <a:gd name="connsiteX23" fmla="*/ 6508750 w 7861300"/>
              <a:gd name="connsiteY23" fmla="*/ 2260600 h 3079750"/>
              <a:gd name="connsiteX24" fmla="*/ 6121400 w 7861300"/>
              <a:gd name="connsiteY24" fmla="*/ 2209800 h 3079750"/>
              <a:gd name="connsiteX25" fmla="*/ 5130800 w 7861300"/>
              <a:gd name="connsiteY25" fmla="*/ 2508250 h 3079750"/>
              <a:gd name="connsiteX26" fmla="*/ 4845050 w 7861300"/>
              <a:gd name="connsiteY26" fmla="*/ 2762250 h 3079750"/>
              <a:gd name="connsiteX27" fmla="*/ 4400550 w 7861300"/>
              <a:gd name="connsiteY27" fmla="*/ 2819400 h 3079750"/>
              <a:gd name="connsiteX28" fmla="*/ 4235450 w 7861300"/>
              <a:gd name="connsiteY28" fmla="*/ 2660650 h 3079750"/>
              <a:gd name="connsiteX29" fmla="*/ 4000500 w 7861300"/>
              <a:gd name="connsiteY29" fmla="*/ 2597150 h 3079750"/>
              <a:gd name="connsiteX30" fmla="*/ 3651250 w 7861300"/>
              <a:gd name="connsiteY30" fmla="*/ 2222500 h 3079750"/>
              <a:gd name="connsiteX31" fmla="*/ 3282950 w 7861300"/>
              <a:gd name="connsiteY31" fmla="*/ 2025650 h 3079750"/>
              <a:gd name="connsiteX32" fmla="*/ 3244850 w 7861300"/>
              <a:gd name="connsiteY32" fmla="*/ 1365250 h 3079750"/>
              <a:gd name="connsiteX33" fmla="*/ 2247900 w 7861300"/>
              <a:gd name="connsiteY33" fmla="*/ 1492250 h 3079750"/>
              <a:gd name="connsiteX34" fmla="*/ 1816100 w 7861300"/>
              <a:gd name="connsiteY34" fmla="*/ 819150 h 3079750"/>
              <a:gd name="connsiteX35" fmla="*/ 1403350 w 7861300"/>
              <a:gd name="connsiteY35" fmla="*/ 647700 h 3079750"/>
              <a:gd name="connsiteX36" fmla="*/ 933450 w 7861300"/>
              <a:gd name="connsiteY36" fmla="*/ 114300 h 3079750"/>
              <a:gd name="connsiteX37" fmla="*/ 628650 w 7861300"/>
              <a:gd name="connsiteY37" fmla="*/ 0 h 3079750"/>
              <a:gd name="connsiteX38" fmla="*/ 63500 w 7861300"/>
              <a:gd name="connsiteY38" fmla="*/ 158750 h 3079750"/>
              <a:gd name="connsiteX39" fmla="*/ 0 w 7861300"/>
              <a:gd name="connsiteY39" fmla="*/ 558800 h 3079750"/>
              <a:gd name="connsiteX40" fmla="*/ 209550 w 7861300"/>
              <a:gd name="connsiteY40" fmla="*/ 552450 h 3079750"/>
              <a:gd name="connsiteX41" fmla="*/ 209550 w 7861300"/>
              <a:gd name="connsiteY41" fmla="*/ 412750 h 307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861300" h="3079750">
                <a:moveTo>
                  <a:pt x="209550" y="412750"/>
                </a:moveTo>
                <a:lnTo>
                  <a:pt x="298450" y="285750"/>
                </a:lnTo>
                <a:lnTo>
                  <a:pt x="774700" y="247650"/>
                </a:lnTo>
                <a:lnTo>
                  <a:pt x="1193800" y="819150"/>
                </a:lnTo>
                <a:lnTo>
                  <a:pt x="1822450" y="1174750"/>
                </a:lnTo>
                <a:lnTo>
                  <a:pt x="1879600" y="1435100"/>
                </a:lnTo>
                <a:lnTo>
                  <a:pt x="2197100" y="1771650"/>
                </a:lnTo>
                <a:lnTo>
                  <a:pt x="3060700" y="1663700"/>
                </a:lnTo>
                <a:lnTo>
                  <a:pt x="3092450" y="2159000"/>
                </a:lnTo>
                <a:lnTo>
                  <a:pt x="3536950" y="2425700"/>
                </a:lnTo>
                <a:lnTo>
                  <a:pt x="3581400" y="2578100"/>
                </a:lnTo>
                <a:lnTo>
                  <a:pt x="4343400" y="3079750"/>
                </a:lnTo>
                <a:lnTo>
                  <a:pt x="4667250" y="3073400"/>
                </a:lnTo>
                <a:lnTo>
                  <a:pt x="5181600" y="2781300"/>
                </a:lnTo>
                <a:lnTo>
                  <a:pt x="5276850" y="2698750"/>
                </a:lnTo>
                <a:lnTo>
                  <a:pt x="6210300" y="2406650"/>
                </a:lnTo>
                <a:lnTo>
                  <a:pt x="6623050" y="2444750"/>
                </a:lnTo>
                <a:lnTo>
                  <a:pt x="7315200" y="2133600"/>
                </a:lnTo>
                <a:lnTo>
                  <a:pt x="7550150" y="1828800"/>
                </a:lnTo>
                <a:lnTo>
                  <a:pt x="7861300" y="1790700"/>
                </a:lnTo>
                <a:lnTo>
                  <a:pt x="7829550" y="1568450"/>
                </a:lnTo>
                <a:lnTo>
                  <a:pt x="7435850" y="1593850"/>
                </a:lnTo>
                <a:lnTo>
                  <a:pt x="7232650" y="1930400"/>
                </a:lnTo>
                <a:lnTo>
                  <a:pt x="6508750" y="2260600"/>
                </a:lnTo>
                <a:lnTo>
                  <a:pt x="6121400" y="2209800"/>
                </a:lnTo>
                <a:lnTo>
                  <a:pt x="5130800" y="2508250"/>
                </a:lnTo>
                <a:lnTo>
                  <a:pt x="4845050" y="2762250"/>
                </a:lnTo>
                <a:lnTo>
                  <a:pt x="4400550" y="2819400"/>
                </a:lnTo>
                <a:lnTo>
                  <a:pt x="4235450" y="2660650"/>
                </a:lnTo>
                <a:lnTo>
                  <a:pt x="4000500" y="2597150"/>
                </a:lnTo>
                <a:lnTo>
                  <a:pt x="3651250" y="2222500"/>
                </a:lnTo>
                <a:lnTo>
                  <a:pt x="3282950" y="2025650"/>
                </a:lnTo>
                <a:lnTo>
                  <a:pt x="3244850" y="1365250"/>
                </a:lnTo>
                <a:lnTo>
                  <a:pt x="2247900" y="1492250"/>
                </a:lnTo>
                <a:lnTo>
                  <a:pt x="1816100" y="819150"/>
                </a:lnTo>
                <a:lnTo>
                  <a:pt x="1403350" y="647700"/>
                </a:lnTo>
                <a:lnTo>
                  <a:pt x="933450" y="114300"/>
                </a:lnTo>
                <a:lnTo>
                  <a:pt x="628650" y="0"/>
                </a:lnTo>
                <a:lnTo>
                  <a:pt x="63500" y="158750"/>
                </a:lnTo>
                <a:lnTo>
                  <a:pt x="0" y="558800"/>
                </a:lnTo>
                <a:lnTo>
                  <a:pt x="209550" y="552450"/>
                </a:lnTo>
                <a:lnTo>
                  <a:pt x="209550" y="412750"/>
                </a:lnTo>
                <a:close/>
              </a:path>
            </a:pathLst>
          </a:custGeom>
          <a:solidFill>
            <a:srgbClr val="FF0000">
              <a:alpha val="3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7B20B33D-049A-3B42-9276-A016035222D7}"/>
              </a:ext>
            </a:extLst>
          </p:cNvPr>
          <p:cNvSpPr/>
          <p:nvPr/>
        </p:nvSpPr>
        <p:spPr>
          <a:xfrm>
            <a:off x="3422650" y="3016250"/>
            <a:ext cx="4610100" cy="666750"/>
          </a:xfrm>
          <a:custGeom>
            <a:avLst/>
            <a:gdLst>
              <a:gd name="connsiteX0" fmla="*/ 0 w 4610100"/>
              <a:gd name="connsiteY0" fmla="*/ 0 h 666750"/>
              <a:gd name="connsiteX1" fmla="*/ 889000 w 4610100"/>
              <a:gd name="connsiteY1" fmla="*/ 254000 h 666750"/>
              <a:gd name="connsiteX2" fmla="*/ 1009650 w 4610100"/>
              <a:gd name="connsiteY2" fmla="*/ 393700 h 666750"/>
              <a:gd name="connsiteX3" fmla="*/ 1619250 w 4610100"/>
              <a:gd name="connsiteY3" fmla="*/ 177800 h 666750"/>
              <a:gd name="connsiteX4" fmla="*/ 2343150 w 4610100"/>
              <a:gd name="connsiteY4" fmla="*/ 292100 h 666750"/>
              <a:gd name="connsiteX5" fmla="*/ 2978150 w 4610100"/>
              <a:gd name="connsiteY5" fmla="*/ 50800 h 666750"/>
              <a:gd name="connsiteX6" fmla="*/ 3187700 w 4610100"/>
              <a:gd name="connsiteY6" fmla="*/ 133350 h 666750"/>
              <a:gd name="connsiteX7" fmla="*/ 3581400 w 4610100"/>
              <a:gd name="connsiteY7" fmla="*/ 6350 h 666750"/>
              <a:gd name="connsiteX8" fmla="*/ 4457700 w 4610100"/>
              <a:gd name="connsiteY8" fmla="*/ 114300 h 666750"/>
              <a:gd name="connsiteX9" fmla="*/ 4610100 w 4610100"/>
              <a:gd name="connsiteY9" fmla="*/ 254000 h 666750"/>
              <a:gd name="connsiteX10" fmla="*/ 4603750 w 4610100"/>
              <a:gd name="connsiteY10" fmla="*/ 450850 h 666750"/>
              <a:gd name="connsiteX11" fmla="*/ 4368800 w 4610100"/>
              <a:gd name="connsiteY11" fmla="*/ 457200 h 666750"/>
              <a:gd name="connsiteX12" fmla="*/ 3956050 w 4610100"/>
              <a:gd name="connsiteY12" fmla="*/ 254000 h 666750"/>
              <a:gd name="connsiteX13" fmla="*/ 3270250 w 4610100"/>
              <a:gd name="connsiteY13" fmla="*/ 425450 h 666750"/>
              <a:gd name="connsiteX14" fmla="*/ 2959100 w 4610100"/>
              <a:gd name="connsiteY14" fmla="*/ 342900 h 666750"/>
              <a:gd name="connsiteX15" fmla="*/ 2336800 w 4610100"/>
              <a:gd name="connsiteY15" fmla="*/ 577850 h 666750"/>
              <a:gd name="connsiteX16" fmla="*/ 1587500 w 4610100"/>
              <a:gd name="connsiteY16" fmla="*/ 482600 h 666750"/>
              <a:gd name="connsiteX17" fmla="*/ 939800 w 4610100"/>
              <a:gd name="connsiteY17" fmla="*/ 666750 h 666750"/>
              <a:gd name="connsiteX18" fmla="*/ 565150 w 4610100"/>
              <a:gd name="connsiteY18" fmla="*/ 457200 h 666750"/>
              <a:gd name="connsiteX19" fmla="*/ 6350 w 4610100"/>
              <a:gd name="connsiteY19" fmla="*/ 304800 h 666750"/>
              <a:gd name="connsiteX20" fmla="*/ 0 w 4610100"/>
              <a:gd name="connsiteY20" fmla="*/ 0 h 66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610100" h="666750">
                <a:moveTo>
                  <a:pt x="0" y="0"/>
                </a:moveTo>
                <a:lnTo>
                  <a:pt x="889000" y="254000"/>
                </a:lnTo>
                <a:lnTo>
                  <a:pt x="1009650" y="393700"/>
                </a:lnTo>
                <a:lnTo>
                  <a:pt x="1619250" y="177800"/>
                </a:lnTo>
                <a:lnTo>
                  <a:pt x="2343150" y="292100"/>
                </a:lnTo>
                <a:lnTo>
                  <a:pt x="2978150" y="50800"/>
                </a:lnTo>
                <a:lnTo>
                  <a:pt x="3187700" y="133350"/>
                </a:lnTo>
                <a:lnTo>
                  <a:pt x="3581400" y="6350"/>
                </a:lnTo>
                <a:lnTo>
                  <a:pt x="4457700" y="114300"/>
                </a:lnTo>
                <a:lnTo>
                  <a:pt x="4610100" y="254000"/>
                </a:lnTo>
                <a:lnTo>
                  <a:pt x="4603750" y="450850"/>
                </a:lnTo>
                <a:lnTo>
                  <a:pt x="4368800" y="457200"/>
                </a:lnTo>
                <a:lnTo>
                  <a:pt x="3956050" y="254000"/>
                </a:lnTo>
                <a:lnTo>
                  <a:pt x="3270250" y="425450"/>
                </a:lnTo>
                <a:lnTo>
                  <a:pt x="2959100" y="342900"/>
                </a:lnTo>
                <a:lnTo>
                  <a:pt x="2336800" y="577850"/>
                </a:lnTo>
                <a:lnTo>
                  <a:pt x="1587500" y="482600"/>
                </a:lnTo>
                <a:lnTo>
                  <a:pt x="939800" y="666750"/>
                </a:lnTo>
                <a:lnTo>
                  <a:pt x="565150" y="457200"/>
                </a:lnTo>
                <a:lnTo>
                  <a:pt x="6350" y="3048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0A28EE-DA18-9841-A624-BA4D1D559BCF}"/>
              </a:ext>
            </a:extLst>
          </p:cNvPr>
          <p:cNvSpPr/>
          <p:nvPr/>
        </p:nvSpPr>
        <p:spPr>
          <a:xfrm>
            <a:off x="3244939" y="3486450"/>
            <a:ext cx="180000" cy="180000"/>
          </a:xfrm>
          <a:prstGeom prst="ellipse">
            <a:avLst/>
          </a:prstGeom>
          <a:solidFill>
            <a:srgbClr val="FF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600E0B7-2B81-2B44-9F93-D8FE747228AC}"/>
              </a:ext>
            </a:extLst>
          </p:cNvPr>
          <p:cNvSpPr/>
          <p:nvPr/>
        </p:nvSpPr>
        <p:spPr>
          <a:xfrm>
            <a:off x="3229317" y="3284184"/>
            <a:ext cx="180000" cy="180000"/>
          </a:xfrm>
          <a:prstGeom prst="ellipse">
            <a:avLst/>
          </a:prstGeom>
          <a:solidFill>
            <a:srgbClr val="FF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2D7B55E-AA7F-CD44-8D2B-4505BEB3F023}"/>
              </a:ext>
            </a:extLst>
          </p:cNvPr>
          <p:cNvSpPr/>
          <p:nvPr/>
        </p:nvSpPr>
        <p:spPr>
          <a:xfrm>
            <a:off x="3229317" y="3098346"/>
            <a:ext cx="180000" cy="180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2F36E14-711E-274F-8940-CBDB94AAFE3E}"/>
              </a:ext>
            </a:extLst>
          </p:cNvPr>
          <p:cNvSpPr/>
          <p:nvPr/>
        </p:nvSpPr>
        <p:spPr>
          <a:xfrm>
            <a:off x="3049317" y="3074622"/>
            <a:ext cx="180000" cy="180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2EF10E0-0860-6741-B0A1-143B782427AF}"/>
              </a:ext>
            </a:extLst>
          </p:cNvPr>
          <p:cNvSpPr/>
          <p:nvPr/>
        </p:nvSpPr>
        <p:spPr>
          <a:xfrm>
            <a:off x="194400" y="2030400"/>
            <a:ext cx="180000" cy="180000"/>
          </a:xfrm>
          <a:prstGeom prst="ellipse">
            <a:avLst/>
          </a:prstGeom>
          <a:solidFill>
            <a:srgbClr val="FF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46018AD-5AEC-7A40-AB4E-D4B19978ACDF}"/>
              </a:ext>
            </a:extLst>
          </p:cNvPr>
          <p:cNvSpPr/>
          <p:nvPr/>
        </p:nvSpPr>
        <p:spPr>
          <a:xfrm>
            <a:off x="194400" y="2030400"/>
            <a:ext cx="180000" cy="180000"/>
          </a:xfrm>
          <a:prstGeom prst="ellipse">
            <a:avLst/>
          </a:prstGeom>
          <a:solidFill>
            <a:srgbClr val="FF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75BFCB7-F480-5D41-8D0F-7B49F4FCEA70}"/>
              </a:ext>
            </a:extLst>
          </p:cNvPr>
          <p:cNvSpPr/>
          <p:nvPr/>
        </p:nvSpPr>
        <p:spPr>
          <a:xfrm>
            <a:off x="194400" y="2030400"/>
            <a:ext cx="180000" cy="180000"/>
          </a:xfrm>
          <a:prstGeom prst="ellipse">
            <a:avLst/>
          </a:prstGeom>
          <a:solidFill>
            <a:srgbClr val="FF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94BAE91-C8CD-CA48-8CB2-5C80A9217992}"/>
              </a:ext>
            </a:extLst>
          </p:cNvPr>
          <p:cNvSpPr/>
          <p:nvPr/>
        </p:nvSpPr>
        <p:spPr>
          <a:xfrm>
            <a:off x="194400" y="2030400"/>
            <a:ext cx="180000" cy="180000"/>
          </a:xfrm>
          <a:prstGeom prst="ellipse">
            <a:avLst/>
          </a:prstGeom>
          <a:solidFill>
            <a:srgbClr val="FF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2FCDCF-BDA9-F645-8830-738F6649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5589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0" presetClass="path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 -0.00718 0 -0.01412 0.00677 -0.0213 C 0.01372 -0.02824 0.02917 -0.03935 0.04132 -0.04259 C 0.05365 -0.0456 0.06615 -0.05301 0.08021 -0.03958 C 0.09427 -0.02639 0.10625 0.01389 0.12604 0.0368 C 0.14566 0.05995 0.18386 0.08009 0.19827 0.09861 C 0.21285 0.11713 0.20347 0.13518 0.2132 0.14768 C 0.22292 0.15995 0.23941 0.17153 0.25625 0.17245 C 0.27327 0.17338 0.30191 0.1463 0.31476 0.15324 C 0.32761 0.16018 0.33056 0.1868 0.33351 0.21366 " pathEditMode="relative" ptsTypes="AAAAAAAAAA">
                                      <p:cBhvr>
                                        <p:cTn id="21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2" presetID="0" presetClass="path" presetSubtype="0" fill="hold" grpId="3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0 0 C -0.00017 -0.01042 -0.00017 -0.02083 0.01007 -0.02847 C 0.02032 -0.03611 0.04514 -0.05231 0.06163 -0.04537 C 0.07813 -0.03866 0.09323 -0.00694 0.10955 0.01273 C 0.12587 0.03218 0.14445 0.05625 0.15955 0.07153 C 0.17466 0.08681 0.1915 0.09097 0.2 0.10417 C 0.20851 0.11713 0.20226 0.13796 0.21059 0.14931 C 0.21893 0.16088 0.23368 0.17222 0.25 0.17292 C 0.26615 0.17338 0.2941 0.15116 0.30799 0.15301 C 0.3217 0.15486 0.32709 0.16944 0.33247 0.18426 " pathEditMode="relative" ptsTypes="AAAAAAAAAA">
                                      <p:cBhvr>
                                        <p:cTn id="23" dur="19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4" presetID="0" presetClass="path" presetSubtype="0" fill="hold" grpId="3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 0 C -0.00226 -0.01111 -0.00434 -0.02199 0.0059 -0.02986 C 0.01614 -0.03773 0.04566 -0.05162 0.0618 -0.04676 C 0.07795 -0.04213 0.08576 -0.02199 0.10278 -0.00139 C 0.11979 0.01898 0.14844 0.05972 0.16389 0.07592 C 0.17934 0.09213 0.18628 0.08148 0.19583 0.09583 C 0.20538 0.11018 0.20798 0.14954 0.22135 0.1618 C 0.23472 0.17407 0.2625 0.17037 0.27569 0.16967 C 0.28871 0.16898 0.28993 0.16042 0.29948 0.15833 C 0.3092 0.15625 0.32118 0.15648 0.33316 0.15694 " pathEditMode="relative" ptsTypes="AAAAAAAAAA">
                                      <p:cBhvr>
                                        <p:cTn id="25" dur="19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6" presetID="0" presetClass="path" presetSubtype="0" fill="hold" grpId="3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0 C -0.00278 -0.01181 -0.00556 -0.02384 0.00521 -0.03171 C 0.01614 -0.03982 0.04687 -0.05486 0.06493 -0.04745 C 0.08281 -0.04005 0.09618 -0.00787 0.11319 0.01273 C 0.13021 0.03356 0.15295 0.06319 0.16701 0.07731 C 0.18107 0.09143 0.18871 0.0831 0.19791 0.09722 C 0.20694 0.11134 0.20833 0.15023 0.2217 0.1625 C 0.23524 0.17477 0.26319 0.17245 0.27864 0.17083 C 0.29409 0.16944 0.30416 0.1618 0.31441 0.15393 " pathEditMode="relative" ptsTypes="AAAAAAAAA">
                                      <p:cBhvr>
                                        <p:cTn id="27" dur="18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0" presetClass="pat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-0.00157 0.00579 -0.0033 0.01157 0.00538 0.02245 C 0.01406 0.03357 0.03732 0.04977 0.05225 0.06644 C 0.06701 0.0831 0.08003 0.1088 0.09479 0.12245 C 0.10937 0.13611 0.12083 0.14907 0.13993 0.14861 C 0.15902 0.14815 0.19409 0.12847 0.20972 0.11968 C 0.22517 0.11088 0.21441 0.10648 0.2335 0.0963 C 0.25277 0.08588 0.30243 0.0632 0.325 0.0581 C 0.34774 0.05278 0.35521 0.06736 0.36927 0.06505 C 0.38316 0.06273 0.39618 0.0537 0.4092 0.04445 " pathEditMode="relative" ptsTypes="AAAAAAAAAA">
                                      <p:cBhvr>
                                        <p:cTn id="5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3" presetID="0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-0.00121 0.01968 -0.00243 0.03958 0.00643 0.05532 C 0.01528 0.07106 0.03473 0.07546 0.05278 0.09421 C 0.07066 0.11319 0.09428 0.15509 0.11441 0.16806 C 0.13455 0.18125 0.15365 0.17986 0.17344 0.17315 C 0.19323 0.16643 0.20816 0.1419 0.23299 0.12778 C 0.25782 0.11343 0.30174 0.09352 0.3224 0.08796 C 0.34306 0.08218 0.34653 0.09306 0.35695 0.09352 C 0.36719 0.09421 0.37726 0.09306 0.38403 0.09143 C 0.3908 0.08981 0.3941 0.08681 0.3974 0.08356 " pathEditMode="relative" ptsTypes="AAAAAAAAAA">
                                      <p:cBhvr>
                                        <p:cTn id="5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0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2413 0.00394 0.04826 0.00787 0.06857 0.01644 C 0.08871 0.025 0.10312 0.04977 0.12118 0.05116 C 0.13923 0.05278 0.15434 0.02801 0.17708 0.0257 C 0.19965 0.02338 0.23246 0.04005 0.25677 0.03773 C 0.28107 0.03542 0.30573 0.01482 0.32326 0.01158 C 0.3408 0.0081 0.34843 0.01945 0.36198 0.01713 C 0.37569 0.01482 0.3868 -0.00092 0.40521 -0.00278 C 0.42343 -0.00463 0.45538 0.0007 0.47222 0.00579 C 0.48889 0.01088 0.49722 0.01968 0.50573 0.02847 " pathEditMode="relative" ptsTypes="AAAAAAAAAA">
                                      <p:cBhvr>
                                        <p:cTn id="5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7" presetID="0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1805 0.00024 0.03611 0.0007 0.05625 0.00764 C 0.07656 0.01482 0.10625 0.03449 0.12118 0.0426 C 0.13628 0.0507 0.13437 0.05949 0.14618 0.05672 C 0.15816 0.05417 0.17187 0.02917 0.19253 0.02686 C 0.21302 0.02477 0.24566 0.04607 0.26961 0.04399 C 0.29375 0.0419 0.31823 0.01737 0.33663 0.01412 C 0.3552 0.01088 0.36718 0.02662 0.3809 0.02408 C 0.39461 0.02153 0.40173 0.00209 0.41909 -0.00069 C 0.43663 -0.0037 0.47031 0.00324 0.48559 0.00625 C 0.50104 0.00949 0.50607 0.01366 0.51128 0.0176 " pathEditMode="relative" ptsTypes="AAAAAAAAAAA">
                                      <p:cBhvr>
                                        <p:cTn id="5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  <p:bldP spid="13" grpId="1" animBg="1"/>
      <p:bldP spid="13" grpId="2" animBg="1"/>
      <p:bldP spid="14" grpId="1" animBg="1"/>
      <p:bldP spid="14" grpId="2" animBg="1"/>
      <p:bldP spid="15" grpId="1" animBg="1"/>
      <p:bldP spid="15" grpId="2" animBg="1"/>
      <p:bldP spid="17" grpId="0" animBg="1"/>
      <p:bldP spid="17" grpId="1" animBg="1"/>
      <p:bldP spid="11" grpId="1" animBg="1"/>
      <p:bldP spid="11" grpId="3" animBg="1"/>
      <p:bldP spid="11" grpId="4" animBg="1"/>
      <p:bldP spid="18" grpId="1" animBg="1"/>
      <p:bldP spid="18" grpId="3" animBg="1"/>
      <p:bldP spid="18" grpId="4" animBg="1"/>
      <p:bldP spid="10" grpId="1" animBg="1"/>
      <p:bldP spid="10" grpId="3" animBg="1"/>
      <p:bldP spid="10" grpId="4" animBg="1"/>
      <p:bldP spid="3" grpId="1" animBg="1"/>
      <p:bldP spid="3" grpId="3" animBg="1"/>
      <p:bldP spid="3" grpId="4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7E4792B4-F4D1-2040-8901-2C8E643CD75A}"/>
              </a:ext>
            </a:extLst>
          </p:cNvPr>
          <p:cNvSpPr/>
          <p:nvPr/>
        </p:nvSpPr>
        <p:spPr>
          <a:xfrm>
            <a:off x="1" y="5746875"/>
            <a:ext cx="9144000" cy="11111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B351D15D-61A6-7A49-9197-ED9D8B435500}"/>
              </a:ext>
            </a:extLst>
          </p:cNvPr>
          <p:cNvSpPr/>
          <p:nvPr/>
        </p:nvSpPr>
        <p:spPr>
          <a:xfrm>
            <a:off x="8821787" y="5970436"/>
            <a:ext cx="968828" cy="134559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06A478-F7B6-144E-AB80-152AF9611C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2213" y="1595439"/>
            <a:ext cx="3708921" cy="4360124"/>
          </a:xfrm>
        </p:spPr>
        <p:txBody>
          <a:bodyPr>
            <a:normAutofit/>
          </a:bodyPr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b="1" dirty="0" err="1"/>
              <a:t>correlate</a:t>
            </a:r>
            <a:r>
              <a:rPr lang="sv-SE" dirty="0"/>
              <a:t> packet </a:t>
            </a:r>
            <a:r>
              <a:rPr lang="sv-SE" b="1" dirty="0" err="1"/>
              <a:t>reordering</a:t>
            </a:r>
            <a:r>
              <a:rPr lang="sv-SE" b="1" dirty="0"/>
              <a:t> </a:t>
            </a:r>
            <a:r>
              <a:rPr lang="sv-SE" dirty="0"/>
              <a:t>events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/>
              <a:t>propagation</a:t>
            </a:r>
            <a:r>
              <a:rPr lang="sv-SE" dirty="0"/>
              <a:t> </a:t>
            </a:r>
            <a:r>
              <a:rPr lang="sv-SE" b="1" dirty="0" err="1"/>
              <a:t>latency</a:t>
            </a:r>
            <a:r>
              <a:rPr lang="sv-SE" dirty="0"/>
              <a:t>:</a:t>
            </a:r>
            <a:br>
              <a:rPr lang="sv-SE" dirty="0"/>
            </a:b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zero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false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positives</a:t>
            </a:r>
            <a:r>
              <a:rPr lang="sv-SE" dirty="0"/>
              <a:t>, </a:t>
            </a:r>
            <a:r>
              <a:rPr lang="sv-SE" i="1" dirty="0"/>
              <a:t>i.e.</a:t>
            </a:r>
            <a:r>
              <a:rPr lang="sv-SE" dirty="0"/>
              <a:t>, a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decrease</a:t>
            </a:r>
            <a:r>
              <a:rPr lang="sv-SE" dirty="0"/>
              <a:t> &gt;0.5ms is a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</a:t>
            </a:r>
            <a:br>
              <a:rPr lang="sv-SE" dirty="0"/>
            </a:b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limited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false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negatives</a:t>
            </a:r>
            <a:r>
              <a:rPr lang="sv-SE" dirty="0"/>
              <a:t>, </a:t>
            </a:r>
            <a:r>
              <a:rPr lang="sv-SE" i="1" dirty="0"/>
              <a:t>i.e.</a:t>
            </a:r>
            <a:r>
              <a:rPr lang="sv-SE" dirty="0"/>
              <a:t>,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s</a:t>
            </a:r>
            <a:r>
              <a:rPr lang="sv-SE" dirty="0"/>
              <a:t> </a:t>
            </a:r>
            <a:r>
              <a:rPr lang="sv-SE" dirty="0" err="1"/>
              <a:t>within</a:t>
            </a:r>
            <a:r>
              <a:rPr lang="sv-SE" dirty="0"/>
              <a:t> 0.5ms </a:t>
            </a:r>
            <a:br>
              <a:rPr lang="sv-SE" dirty="0"/>
            </a:br>
            <a:r>
              <a:rPr lang="sv-SE" dirty="0"/>
              <a:t>-&gt; </a:t>
            </a:r>
            <a:r>
              <a:rPr lang="sv-SE" dirty="0" err="1"/>
              <a:t>conservative</a:t>
            </a:r>
            <a:r>
              <a:rPr lang="sv-SE" dirty="0"/>
              <a:t> approach</a:t>
            </a:r>
            <a:br>
              <a:rPr lang="sv-SE" dirty="0"/>
            </a:b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henceforth</a:t>
            </a:r>
            <a:r>
              <a:rPr lang="sv-SE" dirty="0"/>
              <a:t>,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means</a:t>
            </a:r>
            <a:r>
              <a:rPr lang="sv-SE" dirty="0"/>
              <a:t> </a:t>
            </a:r>
            <a:r>
              <a:rPr lang="sv-SE" dirty="0" err="1"/>
              <a:t>base</a:t>
            </a:r>
            <a:r>
              <a:rPr lang="sv-SE" dirty="0"/>
              <a:t> </a:t>
            </a:r>
            <a:r>
              <a:rPr lang="sv-SE" dirty="0" err="1"/>
              <a:t>propagation</a:t>
            </a:r>
            <a:r>
              <a:rPr lang="sv-SE" dirty="0"/>
              <a:t> </a:t>
            </a:r>
            <a:r>
              <a:rPr lang="sv-SE" dirty="0" err="1"/>
              <a:t>latency</a:t>
            </a:r>
            <a:endParaRPr lang="sv-S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</a:t>
            </a:r>
            <a:r>
              <a:rPr lang="sv-SE" dirty="0"/>
              <a:t> </a:t>
            </a:r>
            <a:r>
              <a:rPr lang="sv-SE" dirty="0" err="1"/>
              <a:t>detector</a:t>
            </a:r>
            <a:r>
              <a:rPr lang="sv-SE" dirty="0"/>
              <a:t> is </a:t>
            </a:r>
            <a:r>
              <a:rPr lang="sv-SE" dirty="0" err="1">
                <a:solidFill>
                  <a:schemeClr val="accent3"/>
                </a:solidFill>
              </a:rPr>
              <a:t>accurate</a:t>
            </a:r>
            <a:r>
              <a:rPr lang="sv-SE" dirty="0"/>
              <a:t> </a:t>
            </a:r>
            <a:br>
              <a:rPr lang="sv-SE" dirty="0"/>
            </a:br>
            <a:r>
              <a:rPr lang="sv-SE" dirty="0"/>
              <a:t>and </a:t>
            </a:r>
            <a:r>
              <a:rPr lang="sv-SE" dirty="0" err="1">
                <a:solidFill>
                  <a:schemeClr val="accent3"/>
                </a:solidFill>
              </a:rPr>
              <a:t>conservative</a:t>
            </a:r>
            <a:endParaRPr lang="sv-SE" dirty="0">
              <a:solidFill>
                <a:schemeClr val="accent3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BC750F-8BAD-5149-BDE0-265096A1C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6</a:t>
            </a:fld>
            <a:endParaRPr lang="sv-S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564C40-8388-C54D-98EA-3F5171188D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6774" y="1196975"/>
            <a:ext cx="4645013" cy="540282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941FE87-6806-954A-A68C-8C00F150DD75}"/>
              </a:ext>
            </a:extLst>
          </p:cNvPr>
          <p:cNvSpPr/>
          <p:nvPr/>
        </p:nvSpPr>
        <p:spPr>
          <a:xfrm>
            <a:off x="5998369" y="1527175"/>
            <a:ext cx="50006" cy="1352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85246A-0EEC-C247-9C4E-6B9255BCA7AB}"/>
              </a:ext>
            </a:extLst>
          </p:cNvPr>
          <p:cNvSpPr/>
          <p:nvPr/>
        </p:nvSpPr>
        <p:spPr>
          <a:xfrm>
            <a:off x="6287008" y="1527175"/>
            <a:ext cx="50006" cy="1177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F191C7-0C74-F447-BCEC-CA798F3B8B8F}"/>
              </a:ext>
            </a:extLst>
          </p:cNvPr>
          <p:cNvSpPr/>
          <p:nvPr/>
        </p:nvSpPr>
        <p:spPr>
          <a:xfrm>
            <a:off x="5553076" y="1527175"/>
            <a:ext cx="2562224" cy="40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6943B39-70AC-054D-80C1-4A9B3CEC5BCE}"/>
              </a:ext>
            </a:extLst>
          </p:cNvPr>
          <p:cNvSpPr/>
          <p:nvPr/>
        </p:nvSpPr>
        <p:spPr>
          <a:xfrm>
            <a:off x="5553076" y="1912937"/>
            <a:ext cx="1222374" cy="40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315401-C570-B64B-9C46-B0B2CEB0631B}"/>
              </a:ext>
            </a:extLst>
          </p:cNvPr>
          <p:cNvSpPr/>
          <p:nvPr/>
        </p:nvSpPr>
        <p:spPr>
          <a:xfrm>
            <a:off x="6462934" y="2255778"/>
            <a:ext cx="238125" cy="506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9C7F3A-1C60-7D4E-A223-F77B97FE1653}"/>
              </a:ext>
            </a:extLst>
          </p:cNvPr>
          <p:cNvSpPr/>
          <p:nvPr/>
        </p:nvSpPr>
        <p:spPr>
          <a:xfrm>
            <a:off x="6385367" y="2244903"/>
            <a:ext cx="61867" cy="506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06DBA7-CB9D-7B4F-B100-CF1C51D4ABEA}"/>
              </a:ext>
            </a:extLst>
          </p:cNvPr>
          <p:cNvSpPr/>
          <p:nvPr/>
        </p:nvSpPr>
        <p:spPr>
          <a:xfrm>
            <a:off x="8051717" y="1898620"/>
            <a:ext cx="50007" cy="8318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17A38A-90E2-534A-9FDB-B7312E5E0239}"/>
              </a:ext>
            </a:extLst>
          </p:cNvPr>
          <p:cNvSpPr/>
          <p:nvPr/>
        </p:nvSpPr>
        <p:spPr>
          <a:xfrm>
            <a:off x="8051716" y="1946275"/>
            <a:ext cx="18000" cy="8318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A97DA1-1F8D-3F4F-B8EA-C9E20C2FCB62}"/>
              </a:ext>
            </a:extLst>
          </p:cNvPr>
          <p:cNvSpPr/>
          <p:nvPr/>
        </p:nvSpPr>
        <p:spPr>
          <a:xfrm>
            <a:off x="7955477" y="3200399"/>
            <a:ext cx="264598" cy="1597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BEEF7-94E4-3B48-AF3A-7EA894910E20}"/>
              </a:ext>
            </a:extLst>
          </p:cNvPr>
          <p:cNvSpPr/>
          <p:nvPr/>
        </p:nvSpPr>
        <p:spPr>
          <a:xfrm>
            <a:off x="6374382" y="2899384"/>
            <a:ext cx="72852" cy="40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5BAA7A-0525-554C-B779-A2F119AD2DDA}"/>
              </a:ext>
            </a:extLst>
          </p:cNvPr>
          <p:cNvSpPr/>
          <p:nvPr/>
        </p:nvSpPr>
        <p:spPr>
          <a:xfrm>
            <a:off x="6390082" y="3181348"/>
            <a:ext cx="144068" cy="178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DF7BE2-728D-1149-909F-0F40EA64EB16}"/>
              </a:ext>
            </a:extLst>
          </p:cNvPr>
          <p:cNvSpPr/>
          <p:nvPr/>
        </p:nvSpPr>
        <p:spPr>
          <a:xfrm>
            <a:off x="5015110" y="3299347"/>
            <a:ext cx="1314000" cy="6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F834B01-85C7-3645-804D-5B542C0711F6}"/>
              </a:ext>
            </a:extLst>
          </p:cNvPr>
          <p:cNvSpPr/>
          <p:nvPr/>
        </p:nvSpPr>
        <p:spPr>
          <a:xfrm>
            <a:off x="5051946" y="3175580"/>
            <a:ext cx="298394" cy="1302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B1D92C-114E-A342-99DF-F479B082C318}"/>
              </a:ext>
            </a:extLst>
          </p:cNvPr>
          <p:cNvSpPr/>
          <p:nvPr/>
        </p:nvSpPr>
        <p:spPr>
          <a:xfrm>
            <a:off x="5257857" y="2893589"/>
            <a:ext cx="89308" cy="3537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D5C9DEF-E762-C24D-BB1B-3FE2A43EE666}"/>
              </a:ext>
            </a:extLst>
          </p:cNvPr>
          <p:cNvSpPr/>
          <p:nvPr/>
        </p:nvSpPr>
        <p:spPr>
          <a:xfrm>
            <a:off x="5105990" y="1527174"/>
            <a:ext cx="18000" cy="12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1D0E9B8-2D94-D34E-9B1F-88FF3A74A4F2}"/>
              </a:ext>
            </a:extLst>
          </p:cNvPr>
          <p:cNvSpPr/>
          <p:nvPr/>
        </p:nvSpPr>
        <p:spPr>
          <a:xfrm>
            <a:off x="5328002" y="1527174"/>
            <a:ext cx="18000" cy="10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1626A9-FC9C-324A-B817-5611B43E38DA}"/>
              </a:ext>
            </a:extLst>
          </p:cNvPr>
          <p:cNvSpPr/>
          <p:nvPr/>
        </p:nvSpPr>
        <p:spPr>
          <a:xfrm>
            <a:off x="5363276" y="1527174"/>
            <a:ext cx="18000" cy="10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DD18BC4-9687-2446-9F3C-BD69210F8325}"/>
              </a:ext>
            </a:extLst>
          </p:cNvPr>
          <p:cNvSpPr/>
          <p:nvPr/>
        </p:nvSpPr>
        <p:spPr>
          <a:xfrm>
            <a:off x="5367765" y="1705527"/>
            <a:ext cx="18000" cy="10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9EB9F6-A1F2-6F48-849C-9F033A80DF40}"/>
              </a:ext>
            </a:extLst>
          </p:cNvPr>
          <p:cNvSpPr/>
          <p:nvPr/>
        </p:nvSpPr>
        <p:spPr>
          <a:xfrm>
            <a:off x="4756578" y="1517650"/>
            <a:ext cx="3906888" cy="1842022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3FCE8EF-0D71-664E-99BE-0485628215FA}"/>
              </a:ext>
            </a:extLst>
          </p:cNvPr>
          <p:cNvSpPr/>
          <p:nvPr/>
        </p:nvSpPr>
        <p:spPr>
          <a:xfrm>
            <a:off x="5070335" y="4432583"/>
            <a:ext cx="3308489" cy="1063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F72773A-45EE-AD43-9678-01D6D35B8D6F}"/>
              </a:ext>
            </a:extLst>
          </p:cNvPr>
          <p:cNvSpPr/>
          <p:nvPr/>
        </p:nvSpPr>
        <p:spPr>
          <a:xfrm>
            <a:off x="7747000" y="5172074"/>
            <a:ext cx="204229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B368BE0-F9FA-6641-AD3A-D37395ACFB6F}"/>
              </a:ext>
            </a:extLst>
          </p:cNvPr>
          <p:cNvSpPr/>
          <p:nvPr/>
        </p:nvSpPr>
        <p:spPr>
          <a:xfrm>
            <a:off x="8057016" y="5181599"/>
            <a:ext cx="134122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B52CE43-B129-6143-BE8B-34F10E5F6221}"/>
              </a:ext>
            </a:extLst>
          </p:cNvPr>
          <p:cNvSpPr/>
          <p:nvPr/>
        </p:nvSpPr>
        <p:spPr>
          <a:xfrm>
            <a:off x="6432219" y="5149849"/>
            <a:ext cx="134122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C83C609-4792-E648-8F11-CD720E40605C}"/>
              </a:ext>
            </a:extLst>
          </p:cNvPr>
          <p:cNvSpPr/>
          <p:nvPr/>
        </p:nvSpPr>
        <p:spPr>
          <a:xfrm>
            <a:off x="5956311" y="5264150"/>
            <a:ext cx="134122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E3493D4-4D3E-1A44-A73C-C91A137C71B4}"/>
              </a:ext>
            </a:extLst>
          </p:cNvPr>
          <p:cNvSpPr/>
          <p:nvPr/>
        </p:nvSpPr>
        <p:spPr>
          <a:xfrm>
            <a:off x="5528716" y="5251449"/>
            <a:ext cx="134122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B7963C0-CB16-2243-BB96-4452A622BD78}"/>
              </a:ext>
            </a:extLst>
          </p:cNvPr>
          <p:cNvSpPr/>
          <p:nvPr/>
        </p:nvSpPr>
        <p:spPr>
          <a:xfrm>
            <a:off x="5576055" y="5276850"/>
            <a:ext cx="134122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9E626AE-487E-4C41-8F6C-3E34E8522815}"/>
              </a:ext>
            </a:extLst>
          </p:cNvPr>
          <p:cNvSpPr/>
          <p:nvPr/>
        </p:nvSpPr>
        <p:spPr>
          <a:xfrm>
            <a:off x="5362258" y="5264150"/>
            <a:ext cx="134122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CB2FE9F-2C94-D441-95CA-9D56F636D090}"/>
              </a:ext>
            </a:extLst>
          </p:cNvPr>
          <p:cNvSpPr/>
          <p:nvPr/>
        </p:nvSpPr>
        <p:spPr>
          <a:xfrm>
            <a:off x="5009904" y="5141369"/>
            <a:ext cx="134122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57E5D20-B58E-9F4D-BB9B-F1906CE2CC37}"/>
              </a:ext>
            </a:extLst>
          </p:cNvPr>
          <p:cNvSpPr/>
          <p:nvPr/>
        </p:nvSpPr>
        <p:spPr>
          <a:xfrm>
            <a:off x="5068784" y="5176836"/>
            <a:ext cx="59243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80C2E28-55EA-BD41-B04D-ACE9962DB12E}"/>
              </a:ext>
            </a:extLst>
          </p:cNvPr>
          <p:cNvSpPr/>
          <p:nvPr/>
        </p:nvSpPr>
        <p:spPr>
          <a:xfrm>
            <a:off x="5086334" y="5149848"/>
            <a:ext cx="59243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2FC21DC-F1CC-F744-A7B8-4CF66DE32DBD}"/>
              </a:ext>
            </a:extLst>
          </p:cNvPr>
          <p:cNvSpPr/>
          <p:nvPr/>
        </p:nvSpPr>
        <p:spPr>
          <a:xfrm>
            <a:off x="5086334" y="5934073"/>
            <a:ext cx="85741" cy="16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F9EA77F-93A0-C547-BF94-18EEE16A1A89}"/>
              </a:ext>
            </a:extLst>
          </p:cNvPr>
          <p:cNvSpPr/>
          <p:nvPr/>
        </p:nvSpPr>
        <p:spPr>
          <a:xfrm>
            <a:off x="5276517" y="5673724"/>
            <a:ext cx="85741" cy="42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61AE66D-159E-F145-8D75-0C68B3F1A1B8}"/>
              </a:ext>
            </a:extLst>
          </p:cNvPr>
          <p:cNvSpPr/>
          <p:nvPr/>
        </p:nvSpPr>
        <p:spPr>
          <a:xfrm>
            <a:off x="7809418" y="5955563"/>
            <a:ext cx="305882" cy="139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80EC0D2-91A1-1A46-9576-E7823056DC82}"/>
              </a:ext>
            </a:extLst>
          </p:cNvPr>
          <p:cNvSpPr/>
          <p:nvPr/>
        </p:nvSpPr>
        <p:spPr>
          <a:xfrm>
            <a:off x="6298536" y="5402431"/>
            <a:ext cx="69496" cy="261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3B85092-4AF5-A44D-AF9A-E569E113CB31}"/>
              </a:ext>
            </a:extLst>
          </p:cNvPr>
          <p:cNvSpPr/>
          <p:nvPr/>
        </p:nvSpPr>
        <p:spPr>
          <a:xfrm>
            <a:off x="5328002" y="6042024"/>
            <a:ext cx="1287110" cy="52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814E606-A922-2644-A904-32E0336A2FA0}"/>
              </a:ext>
            </a:extLst>
          </p:cNvPr>
          <p:cNvSpPr/>
          <p:nvPr/>
        </p:nvSpPr>
        <p:spPr>
          <a:xfrm>
            <a:off x="6432219" y="5937246"/>
            <a:ext cx="101931" cy="139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F7488C2-E1EC-BE44-BE6A-E9877A728934}"/>
              </a:ext>
            </a:extLst>
          </p:cNvPr>
          <p:cNvSpPr/>
          <p:nvPr/>
        </p:nvSpPr>
        <p:spPr>
          <a:xfrm>
            <a:off x="4760274" y="4432276"/>
            <a:ext cx="3906888" cy="1667366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DE1514-1D9F-8D48-BCC3-3A9BE5F4C757}"/>
              </a:ext>
            </a:extLst>
          </p:cNvPr>
          <p:cNvSpPr txBox="1"/>
          <p:nvPr/>
        </p:nvSpPr>
        <p:spPr>
          <a:xfrm>
            <a:off x="9413966" y="418011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2078069-D899-9D46-B59D-4A96D7631EA2}"/>
              </a:ext>
            </a:extLst>
          </p:cNvPr>
          <p:cNvSpPr/>
          <p:nvPr/>
        </p:nvSpPr>
        <p:spPr>
          <a:xfrm>
            <a:off x="6775450" y="1196975"/>
            <a:ext cx="1603374" cy="25735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22C335F-A4A4-6E4A-8183-70B396F22683}"/>
              </a:ext>
            </a:extLst>
          </p:cNvPr>
          <p:cNvSpPr/>
          <p:nvPr/>
        </p:nvSpPr>
        <p:spPr>
          <a:xfrm>
            <a:off x="6775450" y="4108686"/>
            <a:ext cx="1603374" cy="257356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72C3A9A-BD04-954D-B49C-EB26C040E955}"/>
              </a:ext>
            </a:extLst>
          </p:cNvPr>
          <p:cNvSpPr txBox="1"/>
          <p:nvPr/>
        </p:nvSpPr>
        <p:spPr>
          <a:xfrm>
            <a:off x="7101105" y="4117628"/>
            <a:ext cx="145393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 Change &gt;0.5m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694E7D5-C012-EC46-AB01-9C010325E2B0}"/>
              </a:ext>
            </a:extLst>
          </p:cNvPr>
          <p:cNvSpPr txBox="1"/>
          <p:nvPr/>
        </p:nvSpPr>
        <p:spPr>
          <a:xfrm>
            <a:off x="5662838" y="4113939"/>
            <a:ext cx="111261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r>
              <a:rPr lang="sv-SE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iltered</a:t>
            </a:r>
            <a:r>
              <a:rPr lang="sv-SE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sv-SE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tency</a:t>
            </a:r>
            <a:endParaRPr lang="sv-SE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454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19" grpId="0" animBg="1"/>
      <p:bldP spid="45" grpId="0" animBg="1"/>
      <p:bldP spid="5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404870"/>
            <a:ext cx="7310618" cy="668338"/>
          </a:xfrm>
        </p:spPr>
        <p:txBody>
          <a:bodyPr/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can</a:t>
            </a:r>
            <a:r>
              <a:rPr lang="sv-SE" dirty="0"/>
              <a:t> </a:t>
            </a:r>
            <a:r>
              <a:rPr lang="sv-SE" dirty="0" err="1"/>
              <a:t>now</a:t>
            </a:r>
            <a:r>
              <a:rPr lang="sv-SE" dirty="0"/>
              <a:t>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detect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path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changes</a:t>
            </a:r>
            <a:br>
              <a:rPr lang="sv-SE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sv-SE" dirty="0" err="1"/>
              <a:t>We</a:t>
            </a:r>
            <a:r>
              <a:rPr lang="sv-SE" dirty="0"/>
              <a:t> set </a:t>
            </a:r>
            <a:r>
              <a:rPr lang="sv-SE" dirty="0" err="1"/>
              <a:t>up</a:t>
            </a:r>
            <a:r>
              <a:rPr lang="sv-SE" dirty="0"/>
              <a:t> an 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extensive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measurement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/>
              <a:t>study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AW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831055-0D8F-FB4D-BB54-1C51DACB5B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330" y="982652"/>
            <a:ext cx="7212729" cy="2837391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4993AA-263B-4D47-8D0D-0B2656DA0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7</a:t>
            </a:fld>
            <a:endParaRPr lang="sv-S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B349C2-D8A2-4546-9219-965C1032EC9B}"/>
              </a:ext>
            </a:extLst>
          </p:cNvPr>
          <p:cNvSpPr/>
          <p:nvPr/>
        </p:nvSpPr>
        <p:spPr>
          <a:xfrm>
            <a:off x="1335024" y="3336462"/>
            <a:ext cx="6717912" cy="301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002B08-4AB7-2C49-8199-B5508E2B73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731179"/>
            <a:ext cx="9144000" cy="280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4AC6858-A17E-2D4D-8594-F62006DCB666}"/>
              </a:ext>
            </a:extLst>
          </p:cNvPr>
          <p:cNvSpPr txBox="1"/>
          <p:nvPr/>
        </p:nvSpPr>
        <p:spPr>
          <a:xfrm>
            <a:off x="1170432" y="6566879"/>
            <a:ext cx="6519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chemeClr val="bg1"/>
                </a:solidFill>
              </a:rPr>
              <a:t>Picture credits: AWS </a:t>
            </a:r>
            <a:r>
              <a:rPr lang="en-US" sz="1400" i="1" dirty="0" err="1">
                <a:solidFill>
                  <a:schemeClr val="bg1"/>
                </a:solidFill>
              </a:rPr>
              <a:t>re:Invent</a:t>
            </a:r>
            <a:r>
              <a:rPr lang="en-US" sz="1400" i="1" dirty="0">
                <a:solidFill>
                  <a:schemeClr val="bg1"/>
                </a:solidFill>
              </a:rPr>
              <a:t> 2016: Tuesday Night Live with James Hamilton</a:t>
            </a:r>
          </a:p>
        </p:txBody>
      </p:sp>
    </p:spTree>
    <p:extLst>
      <p:ext uri="{BB962C8B-B14F-4D97-AF65-F5344CB8AC3E}">
        <p14:creationId xmlns:p14="http://schemas.microsoft.com/office/powerpoint/2010/main" val="37065159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Some</a:t>
            </a:r>
            <a:r>
              <a:rPr lang="sv-SE" dirty="0"/>
              <a:t> AWS regions </a:t>
            </a:r>
            <a:r>
              <a:rPr lang="sv-SE" dirty="0" err="1"/>
              <a:t>have</a:t>
            </a:r>
            <a:r>
              <a:rPr lang="sv-SE" dirty="0"/>
              <a:t> </a:t>
            </a:r>
            <a:r>
              <a:rPr lang="sv-SE" dirty="0" err="1">
                <a:solidFill>
                  <a:srgbClr val="FF0000"/>
                </a:solidFill>
              </a:rPr>
              <a:t>high</a:t>
            </a:r>
            <a:r>
              <a:rPr lang="sv-SE" dirty="0">
                <a:solidFill>
                  <a:srgbClr val="FF0000"/>
                </a:solidFill>
              </a:rPr>
              <a:t> </a:t>
            </a:r>
            <a:r>
              <a:rPr lang="sv-SE" dirty="0" err="1">
                <a:solidFill>
                  <a:srgbClr val="FF0000"/>
                </a:solidFill>
              </a:rPr>
              <a:t>latency</a:t>
            </a:r>
            <a:r>
              <a:rPr lang="sv-SE" dirty="0">
                <a:solidFill>
                  <a:srgbClr val="FF0000"/>
                </a:solidFill>
              </a:rPr>
              <a:t> variations </a:t>
            </a:r>
            <a:r>
              <a:rPr lang="sv-SE" dirty="0" err="1"/>
              <a:t>across</a:t>
            </a:r>
            <a:r>
              <a:rPr lang="sv-SE" dirty="0"/>
              <a:t> different </a:t>
            </a:r>
            <a:r>
              <a:rPr lang="sv-SE" dirty="0" err="1"/>
              <a:t>flows</a:t>
            </a:r>
            <a:r>
              <a:rPr lang="sv-SE" dirty="0"/>
              <a:t> (i.e., different source ports)</a:t>
            </a: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A298F437-BD4B-A643-974C-CDEABE6BA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8</a:t>
            </a:fld>
            <a:endParaRPr lang="sv-SE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C7802382-D58E-8F49-A4EA-08E59A6834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309" y="1401282"/>
            <a:ext cx="3549488" cy="18004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4E956B3-DE99-3945-83AD-BB98049210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309" y="3634582"/>
            <a:ext cx="4037330" cy="1684870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7A89EB14-1B9A-344A-905E-1ED600FB14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556" y="1595439"/>
            <a:ext cx="3600450" cy="4078286"/>
          </a:xfrm>
        </p:spPr>
        <p:txBody>
          <a:bodyPr/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looked</a:t>
            </a:r>
            <a:r>
              <a:rPr lang="sv-SE" dirty="0"/>
              <a:t> at all the 120 region pairs in AW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Latency</a:t>
            </a:r>
            <a:r>
              <a:rPr lang="sv-SE" b="1" dirty="0"/>
              <a:t> inflation</a:t>
            </a:r>
            <a:r>
              <a:rPr lang="sv-SE" dirty="0"/>
              <a:t>:</a:t>
            </a:r>
            <a:br>
              <a:rPr lang="sv-SE" dirty="0"/>
            </a:br>
            <a:r>
              <a:rPr lang="sv-SE" dirty="0"/>
              <a:t>max-</a:t>
            </a:r>
            <a:r>
              <a:rPr lang="sv-SE" dirty="0" err="1"/>
              <a:t>latency</a:t>
            </a:r>
            <a:r>
              <a:rPr lang="sv-SE" dirty="0"/>
              <a:t>/min-</a:t>
            </a:r>
            <a:r>
              <a:rPr lang="sv-SE" dirty="0" err="1"/>
              <a:t>latency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&gt;</a:t>
            </a:r>
            <a:r>
              <a:rPr lang="sv-SE" b="1" dirty="0">
                <a:solidFill>
                  <a:srgbClr val="FF0000"/>
                </a:solidFill>
              </a:rPr>
              <a:t>32% </a:t>
            </a:r>
            <a:r>
              <a:rPr lang="sv-SE" b="1" dirty="0" err="1">
                <a:solidFill>
                  <a:srgbClr val="FF0000"/>
                </a:solidFill>
              </a:rPr>
              <a:t>latency</a:t>
            </a:r>
            <a:r>
              <a:rPr lang="sv-SE" b="1" dirty="0">
                <a:solidFill>
                  <a:srgbClr val="FF0000"/>
                </a:solidFill>
              </a:rPr>
              <a:t> inflation for 5% </a:t>
            </a:r>
            <a:r>
              <a:rPr lang="sv-SE" b="1" dirty="0" err="1">
                <a:solidFill>
                  <a:srgbClr val="FF0000"/>
                </a:solidFill>
              </a:rPr>
              <a:t>of</a:t>
            </a:r>
            <a:r>
              <a:rPr lang="sv-SE" b="1" dirty="0">
                <a:solidFill>
                  <a:srgbClr val="FF0000"/>
                </a:solidFill>
              </a:rPr>
              <a:t> region pai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zoomed</a:t>
            </a:r>
            <a:r>
              <a:rPr lang="sv-SE" dirty="0"/>
              <a:t> </a:t>
            </a:r>
            <a:r>
              <a:rPr lang="sv-SE" dirty="0" err="1"/>
              <a:t>into</a:t>
            </a:r>
            <a:r>
              <a:rPr lang="sv-SE" dirty="0"/>
              <a:t> </a:t>
            </a:r>
            <a:r>
              <a:rPr lang="sv-SE" dirty="0" err="1"/>
              <a:t>four</a:t>
            </a:r>
            <a:r>
              <a:rPr lang="sv-SE" dirty="0"/>
              <a:t> AWS region pairs for the </a:t>
            </a:r>
            <a:r>
              <a:rPr lang="sv-SE" dirty="0" err="1"/>
              <a:t>micro-scale</a:t>
            </a:r>
            <a:r>
              <a:rPr lang="sv-SE" dirty="0"/>
              <a:t> experi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neither</a:t>
            </a:r>
            <a:r>
              <a:rPr lang="sv-SE" dirty="0"/>
              <a:t> the </a:t>
            </a:r>
            <a:r>
              <a:rPr lang="sv-SE" dirty="0" err="1"/>
              <a:t>worst</a:t>
            </a:r>
            <a:r>
              <a:rPr lang="sv-SE" dirty="0"/>
              <a:t> nor the best pai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7FFA5C-C038-C04A-A82E-0F1C6ECB80B0}"/>
              </a:ext>
            </a:extLst>
          </p:cNvPr>
          <p:cNvSpPr txBox="1"/>
          <p:nvPr/>
        </p:nvSpPr>
        <p:spPr>
          <a:xfrm rot="16200000">
            <a:off x="3883519" y="2135986"/>
            <a:ext cx="1684870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region pai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0EBC932-2B04-444F-BA9E-8060D4787436}"/>
              </a:ext>
            </a:extLst>
          </p:cNvPr>
          <p:cNvSpPr/>
          <p:nvPr/>
        </p:nvSpPr>
        <p:spPr>
          <a:xfrm>
            <a:off x="4768770" y="2199190"/>
            <a:ext cx="144683" cy="676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A19F4B4-2E75-3D40-9A84-4AD7349292E8}"/>
              </a:ext>
            </a:extLst>
          </p:cNvPr>
          <p:cNvCxnSpPr>
            <a:cxnSpLocks/>
          </p:cNvCxnSpPr>
          <p:nvPr/>
        </p:nvCxnSpPr>
        <p:spPr>
          <a:xfrm flipV="1">
            <a:off x="3908656" y="1666754"/>
            <a:ext cx="2000220" cy="1601212"/>
          </a:xfrm>
          <a:prstGeom prst="straightConnector1">
            <a:avLst/>
          </a:prstGeom>
          <a:ln w="571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62214961-4BEF-CA4C-81BA-F18E758BF63C}"/>
              </a:ext>
            </a:extLst>
          </p:cNvPr>
          <p:cNvSpPr/>
          <p:nvPr/>
        </p:nvSpPr>
        <p:spPr>
          <a:xfrm>
            <a:off x="5087144" y="5188271"/>
            <a:ext cx="3171393" cy="1460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E8F577-C475-6C49-9C48-381F67829AE0}"/>
              </a:ext>
            </a:extLst>
          </p:cNvPr>
          <p:cNvSpPr txBox="1"/>
          <p:nvPr/>
        </p:nvSpPr>
        <p:spPr>
          <a:xfrm>
            <a:off x="6539424" y="5150505"/>
            <a:ext cx="851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Sydney,</a:t>
            </a:r>
            <a:br>
              <a:rPr lang="sv-SE" sz="1200" dirty="0"/>
            </a:br>
            <a:r>
              <a:rPr lang="sv-SE" sz="1200" dirty="0"/>
              <a:t>Toky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6F5A3C-9959-A242-A4DF-0BC38EDB7A9C}"/>
              </a:ext>
            </a:extLst>
          </p:cNvPr>
          <p:cNvSpPr txBox="1"/>
          <p:nvPr/>
        </p:nvSpPr>
        <p:spPr>
          <a:xfrm>
            <a:off x="4807717" y="5147380"/>
            <a:ext cx="12355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Sao Paulo,</a:t>
            </a:r>
          </a:p>
          <a:p>
            <a:pPr algn="ctr"/>
            <a:r>
              <a:rPr lang="sv-SE" sz="1200" dirty="0"/>
              <a:t>Montre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D6DB89D-5CA1-1046-95AF-6DABFA6682DB}"/>
              </a:ext>
            </a:extLst>
          </p:cNvPr>
          <p:cNvSpPr txBox="1"/>
          <p:nvPr/>
        </p:nvSpPr>
        <p:spPr>
          <a:xfrm>
            <a:off x="5723329" y="5147380"/>
            <a:ext cx="10635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Singapore,</a:t>
            </a:r>
          </a:p>
          <a:p>
            <a:pPr algn="ctr"/>
            <a:r>
              <a:rPr lang="sv-SE" sz="1200" dirty="0"/>
              <a:t>Pari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9C2EFA-B2A5-424B-AD20-AD94D7C5CF97}"/>
              </a:ext>
            </a:extLst>
          </p:cNvPr>
          <p:cNvSpPr txBox="1"/>
          <p:nvPr/>
        </p:nvSpPr>
        <p:spPr>
          <a:xfrm>
            <a:off x="7194941" y="5147380"/>
            <a:ext cx="10635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Oregon,</a:t>
            </a:r>
          </a:p>
          <a:p>
            <a:pPr algn="ctr"/>
            <a:r>
              <a:rPr lang="sv-SE" sz="1200" dirty="0"/>
              <a:t>Virgini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A58BC0-083B-3C40-8DC2-CA7EEF0579ED}"/>
              </a:ext>
            </a:extLst>
          </p:cNvPr>
          <p:cNvSpPr txBox="1"/>
          <p:nvPr/>
        </p:nvSpPr>
        <p:spPr>
          <a:xfrm>
            <a:off x="8207797" y="2963119"/>
            <a:ext cx="4878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142856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/>
      <p:bldP spid="13" grpId="0"/>
      <p:bldP spid="14" grpId="0"/>
      <p:bldP spid="1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</a:t>
            </a:r>
            <a:r>
              <a:rPr lang="sv-SE" dirty="0" err="1"/>
              <a:t>flow-latency</a:t>
            </a:r>
            <a:r>
              <a:rPr lang="sv-SE" dirty="0"/>
              <a:t> </a:t>
            </a:r>
            <a:r>
              <a:rPr lang="sv-SE" dirty="0" err="1"/>
              <a:t>spectrum</a:t>
            </a:r>
            <a:r>
              <a:rPr lang="sv-SE" dirty="0"/>
              <a:t> over </a:t>
            </a:r>
            <a:r>
              <a:rPr lang="sv-SE" dirty="0" err="1"/>
              <a:t>time</a:t>
            </a:r>
            <a:r>
              <a:rPr lang="sv-SE" dirty="0"/>
              <a:t> for </a:t>
            </a:r>
            <a:r>
              <a:rPr lang="sv-SE" dirty="0" err="1"/>
              <a:t>four</a:t>
            </a:r>
            <a:r>
              <a:rPr lang="sv-SE" dirty="0"/>
              <a:t> different pairs </a:t>
            </a:r>
            <a:r>
              <a:rPr lang="sv-SE" dirty="0" err="1"/>
              <a:t>of</a:t>
            </a:r>
            <a:r>
              <a:rPr lang="sv-SE" dirty="0"/>
              <a:t> reg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5997A6-3005-1648-99B1-00AB3CED8F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394" y="1380220"/>
            <a:ext cx="3301559" cy="188908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BD858-8C5C-1B4B-ABCE-B2F337894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9</a:t>
            </a:fld>
            <a:endParaRPr lang="sv-S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D3879C-C406-034B-8C46-5CB98B3A10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2709" y="1380220"/>
            <a:ext cx="3301559" cy="18993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88C48CA-11D9-CB4E-9AC1-2A4E069DDA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393" y="3699281"/>
            <a:ext cx="3301559" cy="19049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D09B886-5740-C043-A53F-0F6020D9BE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2708" y="3699281"/>
            <a:ext cx="3301559" cy="19126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08489F7-E661-5144-AEFC-C330FA200352}"/>
              </a:ext>
            </a:extLst>
          </p:cNvPr>
          <p:cNvSpPr txBox="1"/>
          <p:nvPr/>
        </p:nvSpPr>
        <p:spPr>
          <a:xfrm>
            <a:off x="6170653" y="5532275"/>
            <a:ext cx="2066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/>
              <a:t>Sydney - Toky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5E1DEC-4F95-9C4F-9C58-CC06F7BEE2B9}"/>
              </a:ext>
            </a:extLst>
          </p:cNvPr>
          <p:cNvSpPr txBox="1"/>
          <p:nvPr/>
        </p:nvSpPr>
        <p:spPr>
          <a:xfrm>
            <a:off x="6154838" y="3202996"/>
            <a:ext cx="24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/>
              <a:t>Oregon - Virgini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9F04BB-AB9A-C045-BC15-03AA3E87FF89}"/>
              </a:ext>
            </a:extLst>
          </p:cNvPr>
          <p:cNvSpPr txBox="1"/>
          <p:nvPr/>
        </p:nvSpPr>
        <p:spPr>
          <a:xfrm>
            <a:off x="1733101" y="5531435"/>
            <a:ext cx="2066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/>
              <a:t>Singapore - Pari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EAC226-44F6-7A4D-99CC-9EF8CE61263F}"/>
              </a:ext>
            </a:extLst>
          </p:cNvPr>
          <p:cNvSpPr txBox="1"/>
          <p:nvPr/>
        </p:nvSpPr>
        <p:spPr>
          <a:xfrm>
            <a:off x="1755709" y="3182791"/>
            <a:ext cx="2066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/>
              <a:t>Sao Paulo - Montreal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F40C559-CA01-DC4B-9555-8275909B99A3}"/>
              </a:ext>
            </a:extLst>
          </p:cNvPr>
          <p:cNvCxnSpPr>
            <a:cxnSpLocks/>
          </p:cNvCxnSpPr>
          <p:nvPr/>
        </p:nvCxnSpPr>
        <p:spPr>
          <a:xfrm flipV="1">
            <a:off x="6313990" y="2873479"/>
            <a:ext cx="457652" cy="329517"/>
          </a:xfrm>
          <a:prstGeom prst="straightConnector1">
            <a:avLst/>
          </a:prstGeom>
          <a:ln w="571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001627DD-5DE2-C141-A315-CA6EBDFA720F}"/>
              </a:ext>
            </a:extLst>
          </p:cNvPr>
          <p:cNvSpPr txBox="1"/>
          <p:nvPr/>
        </p:nvSpPr>
        <p:spPr>
          <a:xfrm>
            <a:off x="4326952" y="3130535"/>
            <a:ext cx="1987039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hs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dis)</a:t>
            </a:r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ear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!!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DBD609A-2C90-D84E-92E4-09B49333C42E}"/>
              </a:ext>
            </a:extLst>
          </p:cNvPr>
          <p:cNvCxnSpPr>
            <a:cxnSpLocks/>
          </p:cNvCxnSpPr>
          <p:nvPr/>
        </p:nvCxnSpPr>
        <p:spPr>
          <a:xfrm flipV="1">
            <a:off x="1619250" y="2477924"/>
            <a:ext cx="686493" cy="801615"/>
          </a:xfrm>
          <a:prstGeom prst="straightConnector1">
            <a:avLst/>
          </a:prstGeom>
          <a:ln w="571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5C5669A-A07A-F549-8136-25809684322C}"/>
              </a:ext>
            </a:extLst>
          </p:cNvPr>
          <p:cNvSpPr txBox="1"/>
          <p:nvPr/>
        </p:nvSpPr>
        <p:spPr>
          <a:xfrm>
            <a:off x="-36595" y="3263709"/>
            <a:ext cx="1811501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ble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istribution </a:t>
            </a:r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t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…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58EF358-D07B-D64E-9561-2D7F6BC7659B}"/>
              </a:ext>
            </a:extLst>
          </p:cNvPr>
          <p:cNvCxnSpPr>
            <a:cxnSpLocks/>
          </p:cNvCxnSpPr>
          <p:nvPr/>
        </p:nvCxnSpPr>
        <p:spPr>
          <a:xfrm flipH="1" flipV="1">
            <a:off x="2257842" y="4195365"/>
            <a:ext cx="1298548" cy="1182240"/>
          </a:xfrm>
          <a:prstGeom prst="straightConnector1">
            <a:avLst/>
          </a:prstGeom>
          <a:ln w="571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E3BB145-7823-994E-893D-568461E2EA87}"/>
              </a:ext>
            </a:extLst>
          </p:cNvPr>
          <p:cNvSpPr txBox="1"/>
          <p:nvPr/>
        </p:nvSpPr>
        <p:spPr>
          <a:xfrm>
            <a:off x="3460474" y="5377605"/>
            <a:ext cx="304888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median </a:t>
            </a:r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ch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se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</a:t>
            </a:r>
            <a:r>
              <a:rPr lang="sv-SE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best </a:t>
            </a:r>
            <a:r>
              <a:rPr lang="sv-SE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</a:t>
            </a:r>
            <a:endParaRPr lang="sv-SE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E6C971C9-12BC-824D-BC51-6CE8CAC0FED5}"/>
              </a:ext>
            </a:extLst>
          </p:cNvPr>
          <p:cNvCxnSpPr>
            <a:cxnSpLocks/>
            <a:stCxn id="22" idx="1"/>
          </p:cNvCxnSpPr>
          <p:nvPr/>
        </p:nvCxnSpPr>
        <p:spPr>
          <a:xfrm flipH="1" flipV="1">
            <a:off x="4143737" y="2592729"/>
            <a:ext cx="452792" cy="272095"/>
          </a:xfrm>
          <a:prstGeom prst="straightConnector1">
            <a:avLst/>
          </a:prstGeom>
          <a:ln w="57150">
            <a:solidFill>
              <a:schemeClr val="bg1">
                <a:lumMod val="7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B7E99615-3A4A-2146-9B83-8EE53F02A165}"/>
              </a:ext>
            </a:extLst>
          </p:cNvPr>
          <p:cNvSpPr txBox="1"/>
          <p:nvPr/>
        </p:nvSpPr>
        <p:spPr>
          <a:xfrm>
            <a:off x="4596529" y="2680158"/>
            <a:ext cx="889871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’th </a:t>
            </a:r>
            <a:r>
              <a:rPr lang="sv-SE" b="1" dirty="0" err="1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c</a:t>
            </a:r>
            <a:endParaRPr lang="sv-SE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A365314-8181-D648-9F28-3C403923B6B9}"/>
              </a:ext>
            </a:extLst>
          </p:cNvPr>
          <p:cNvCxnSpPr>
            <a:cxnSpLocks/>
            <a:stCxn id="26" idx="1"/>
          </p:cNvCxnSpPr>
          <p:nvPr/>
        </p:nvCxnSpPr>
        <p:spPr>
          <a:xfrm flipH="1" flipV="1">
            <a:off x="4136570" y="2477925"/>
            <a:ext cx="467126" cy="99143"/>
          </a:xfrm>
          <a:prstGeom prst="straightConnector1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24A0BD1-820B-8E44-89F7-20F3CEE3CA3A}"/>
              </a:ext>
            </a:extLst>
          </p:cNvPr>
          <p:cNvSpPr txBox="1"/>
          <p:nvPr/>
        </p:nvSpPr>
        <p:spPr>
          <a:xfrm>
            <a:off x="4603696" y="2438568"/>
            <a:ext cx="104858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’th </a:t>
            </a:r>
            <a:r>
              <a:rPr lang="sv-SE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c</a:t>
            </a:r>
            <a:endParaRPr lang="sv-SE" b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E7FD37E-D1C4-8042-8DDD-2035F8EF0843}"/>
              </a:ext>
            </a:extLst>
          </p:cNvPr>
          <p:cNvCxnSpPr>
            <a:cxnSpLocks/>
            <a:stCxn id="30" idx="1"/>
          </p:cNvCxnSpPr>
          <p:nvPr/>
        </p:nvCxnSpPr>
        <p:spPr>
          <a:xfrm flipH="1">
            <a:off x="4136570" y="2324349"/>
            <a:ext cx="474293" cy="68966"/>
          </a:xfrm>
          <a:prstGeom prst="straightConnector1">
            <a:avLst/>
          </a:prstGeom>
          <a:ln w="57150"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4590D35-A6A2-C24F-A8AD-72C5E7838443}"/>
              </a:ext>
            </a:extLst>
          </p:cNvPr>
          <p:cNvSpPr txBox="1"/>
          <p:nvPr/>
        </p:nvSpPr>
        <p:spPr>
          <a:xfrm>
            <a:off x="4610863" y="2185849"/>
            <a:ext cx="104858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’th </a:t>
            </a:r>
            <a:r>
              <a:rPr lang="sv-SE" b="1" dirty="0" err="1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c</a:t>
            </a:r>
            <a:endParaRPr lang="sv-SE" b="1" dirty="0">
              <a:solidFill>
                <a:srgbClr val="FFC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B7834147-9E23-0644-B4EA-9AFB5FD371D0}"/>
              </a:ext>
            </a:extLst>
          </p:cNvPr>
          <p:cNvCxnSpPr>
            <a:cxnSpLocks/>
            <a:stCxn id="33" idx="1"/>
          </p:cNvCxnSpPr>
          <p:nvPr/>
        </p:nvCxnSpPr>
        <p:spPr>
          <a:xfrm flipH="1">
            <a:off x="4136571" y="2062413"/>
            <a:ext cx="474292" cy="248174"/>
          </a:xfrm>
          <a:prstGeom prst="straightConnector1">
            <a:avLst/>
          </a:prstGeom>
          <a:ln w="57150"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1591496A-A5C5-4B42-958A-0F74DA0971A6}"/>
              </a:ext>
            </a:extLst>
          </p:cNvPr>
          <p:cNvSpPr txBox="1"/>
          <p:nvPr/>
        </p:nvSpPr>
        <p:spPr>
          <a:xfrm>
            <a:off x="4610863" y="1923913"/>
            <a:ext cx="104858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5’th </a:t>
            </a:r>
            <a:r>
              <a:rPr lang="sv-SE" b="1" dirty="0" err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c</a:t>
            </a:r>
            <a:endParaRPr lang="sv-SE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BF0622AE-887F-2845-A725-979D5EBF73FB}"/>
              </a:ext>
            </a:extLst>
          </p:cNvPr>
          <p:cNvCxnSpPr>
            <a:cxnSpLocks/>
            <a:stCxn id="36" idx="1"/>
          </p:cNvCxnSpPr>
          <p:nvPr/>
        </p:nvCxnSpPr>
        <p:spPr>
          <a:xfrm flipH="1">
            <a:off x="4136570" y="1809694"/>
            <a:ext cx="467126" cy="378558"/>
          </a:xfrm>
          <a:prstGeom prst="straightConnector1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BA0723AE-9D06-9B42-9ECF-827A48DDB7B4}"/>
              </a:ext>
            </a:extLst>
          </p:cNvPr>
          <p:cNvSpPr txBox="1"/>
          <p:nvPr/>
        </p:nvSpPr>
        <p:spPr>
          <a:xfrm>
            <a:off x="4603696" y="1671194"/>
            <a:ext cx="104858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5’th </a:t>
            </a:r>
            <a:r>
              <a:rPr lang="sv-SE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c</a:t>
            </a:r>
            <a:endParaRPr lang="sv-SE" b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219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20" grpId="0"/>
      <p:bldP spid="22" grpId="0"/>
      <p:bldP spid="26" grpId="0" animBg="1"/>
      <p:bldP spid="30" grpId="0" animBg="1"/>
      <p:bldP spid="33" grpId="0" animBg="1"/>
      <p:bldP spid="3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Let’s</a:t>
            </a:r>
            <a:r>
              <a:rPr lang="sv-SE" dirty="0"/>
              <a:t>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open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a TCP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connection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/>
              <a:t>between</a:t>
            </a:r>
            <a:r>
              <a:rPr lang="sv-SE" dirty="0"/>
              <a:t> </a:t>
            </a:r>
            <a:br>
              <a:rPr lang="sv-SE" dirty="0"/>
            </a:br>
            <a:r>
              <a:rPr lang="sv-SE" dirty="0"/>
              <a:t>Oregon and Virgini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3E5D74-A76E-4440-B412-7E8B828F6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3208"/>
            <a:ext cx="9144000" cy="523965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563A367-3CB4-8A47-820A-7A4ADCB44F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6" t="8216" r="7164" b="896"/>
          <a:stretch/>
        </p:blipFill>
        <p:spPr>
          <a:xfrm>
            <a:off x="144000" y="1188000"/>
            <a:ext cx="8892000" cy="4968000"/>
          </a:xfrm>
          <a:prstGeom prst="rect">
            <a:avLst/>
          </a:prstGeom>
        </p:spPr>
      </p:pic>
      <p:sp>
        <p:nvSpPr>
          <p:cNvPr id="29" name="Freeform 28">
            <a:extLst>
              <a:ext uri="{FF2B5EF4-FFF2-40B4-BE49-F238E27FC236}">
                <a16:creationId xmlns:a16="http://schemas.microsoft.com/office/drawing/2014/main" id="{7B162E77-5AC4-BB4B-AC44-BCBC7705057E}"/>
              </a:ext>
            </a:extLst>
          </p:cNvPr>
          <p:cNvSpPr/>
          <p:nvPr/>
        </p:nvSpPr>
        <p:spPr>
          <a:xfrm>
            <a:off x="373627" y="1424575"/>
            <a:ext cx="7344696" cy="2124870"/>
          </a:xfrm>
          <a:custGeom>
            <a:avLst/>
            <a:gdLst>
              <a:gd name="connsiteX0" fmla="*/ 0 w 6823587"/>
              <a:gd name="connsiteY0" fmla="*/ 679528 h 2124870"/>
              <a:gd name="connsiteX1" fmla="*/ 3185651 w 6823587"/>
              <a:gd name="connsiteY1" fmla="*/ 69928 h 2124870"/>
              <a:gd name="connsiteX2" fmla="*/ 6823587 w 6823587"/>
              <a:gd name="connsiteY2" fmla="*/ 2124870 h 212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23587" h="2124870">
                <a:moveTo>
                  <a:pt x="0" y="679528"/>
                </a:moveTo>
                <a:cubicBezTo>
                  <a:pt x="1024193" y="254283"/>
                  <a:pt x="2048387" y="-170962"/>
                  <a:pt x="3185651" y="69928"/>
                </a:cubicBezTo>
                <a:cubicBezTo>
                  <a:pt x="4322915" y="310818"/>
                  <a:pt x="5573251" y="1217844"/>
                  <a:pt x="6823587" y="2124870"/>
                </a:cubicBezTo>
              </a:path>
            </a:pathLst>
          </a:custGeom>
          <a:ln w="44450">
            <a:solidFill>
              <a:srgbClr val="FF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5D00FA6D-C223-7544-B8B6-FC3A9543A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  <p:sp>
        <p:nvSpPr>
          <p:cNvPr id="32" name="Footer Placeholder 31">
            <a:extLst>
              <a:ext uri="{FF2B5EF4-FFF2-40B4-BE49-F238E27FC236}">
                <a16:creationId xmlns:a16="http://schemas.microsoft.com/office/drawing/2014/main" id="{530D3695-7867-9A4A-9209-790A87CFE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"/>
              <a:t>* map of USA taken from Bing Map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641457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A46E37-DEE1-784A-A3E5-A4E43FADF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Stable</a:t>
            </a:r>
            <a:r>
              <a:rPr lang="sv-SE" dirty="0"/>
              <a:t> distribution </a:t>
            </a:r>
            <a:r>
              <a:rPr lang="sv-SE" dirty="0" err="1"/>
              <a:t>but</a:t>
            </a:r>
            <a:r>
              <a:rPr lang="sv-SE" dirty="0"/>
              <a:t>… </a:t>
            </a:r>
            <a:r>
              <a:rPr lang="sv-SE" dirty="0" err="1"/>
              <a:t>are</a:t>
            </a:r>
            <a:r>
              <a:rPr lang="sv-SE" dirty="0"/>
              <a:t> the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routed</a:t>
            </a:r>
            <a:r>
              <a:rPr lang="sv-SE" dirty="0"/>
              <a:t> </a:t>
            </a:r>
            <a:r>
              <a:rPr lang="sv-SE" dirty="0" err="1"/>
              <a:t>always</a:t>
            </a:r>
            <a:r>
              <a:rPr lang="sv-SE" dirty="0"/>
              <a:t> on the same </a:t>
            </a:r>
            <a:r>
              <a:rPr lang="sv-SE" dirty="0" err="1"/>
              <a:t>path</a:t>
            </a:r>
            <a:r>
              <a:rPr lang="sv-SE" dirty="0"/>
              <a:t>? </a:t>
            </a:r>
            <a:r>
              <a:rPr lang="sv-SE" dirty="0">
                <a:solidFill>
                  <a:srgbClr val="FF0000"/>
                </a:solidFill>
              </a:rPr>
              <a:t>Not </a:t>
            </a:r>
            <a:r>
              <a:rPr lang="sv-SE" dirty="0" err="1">
                <a:solidFill>
                  <a:srgbClr val="FF0000"/>
                </a:solidFill>
              </a:rPr>
              <a:t>necessarily</a:t>
            </a:r>
            <a:r>
              <a:rPr lang="sv-SE" dirty="0">
                <a:solidFill>
                  <a:srgbClr val="FF0000"/>
                </a:solidFill>
              </a:rPr>
              <a:t>!</a:t>
            </a:r>
            <a:endParaRPr lang="sv-S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975EFE-313E-9148-8FCE-9B6C13D88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0</a:t>
            </a:fld>
            <a:endParaRPr lang="sv-SE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53CF05F2-A39D-FA4E-856A-0D1FA65575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556" y="1439185"/>
            <a:ext cx="3600450" cy="1504041"/>
          </a:xfrm>
        </p:spPr>
        <p:txBody>
          <a:bodyPr>
            <a:normAutofit/>
          </a:bodyPr>
          <a:lstStyle/>
          <a:p>
            <a:r>
              <a:rPr lang="sv-SE" sz="1600" dirty="0" err="1"/>
              <a:t>Consider</a:t>
            </a:r>
            <a:r>
              <a:rPr lang="sv-SE" sz="1600" dirty="0"/>
              <a:t> all events </a:t>
            </a:r>
            <a:r>
              <a:rPr lang="sv-SE" sz="1600" dirty="0" err="1"/>
              <a:t>when</a:t>
            </a:r>
            <a:r>
              <a:rPr lang="sv-SE" sz="1600" dirty="0"/>
              <a:t> a </a:t>
            </a:r>
            <a:r>
              <a:rPr lang="sv-SE" sz="1600" dirty="0" err="1"/>
              <a:t>flow</a:t>
            </a:r>
            <a:r>
              <a:rPr lang="sv-SE" sz="1600" dirty="0"/>
              <a:t> </a:t>
            </a:r>
            <a:r>
              <a:rPr lang="sv-SE" sz="1600" dirty="0" err="1"/>
              <a:t>changes</a:t>
            </a:r>
            <a:r>
              <a:rPr lang="sv-SE" sz="1600" dirty="0"/>
              <a:t> </a:t>
            </a:r>
            <a:r>
              <a:rPr lang="sv-SE" sz="1600" dirty="0" err="1"/>
              <a:t>path</a:t>
            </a:r>
            <a:r>
              <a:rPr lang="sv-SE" sz="16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40%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of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the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cases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, the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flow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moves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away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within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10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seconds</a:t>
            </a:r>
            <a:endParaRPr lang="sv-SE" sz="1600" b="1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sv-SE" sz="16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A39CA21-3298-8249-B96B-111652B0F4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63" y="3723810"/>
            <a:ext cx="6659494" cy="289648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AC56526-97F8-4547-811F-0362A6C0317E}"/>
              </a:ext>
            </a:extLst>
          </p:cNvPr>
          <p:cNvSpPr txBox="1"/>
          <p:nvPr/>
        </p:nvSpPr>
        <p:spPr>
          <a:xfrm>
            <a:off x="1015563" y="6596279"/>
            <a:ext cx="665948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low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persistence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(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2C67E9-0050-B04E-BDF5-C8BB9E7A9AEC}"/>
              </a:ext>
            </a:extLst>
          </p:cNvPr>
          <p:cNvSpPr/>
          <p:nvPr/>
        </p:nvSpPr>
        <p:spPr>
          <a:xfrm>
            <a:off x="1025206" y="4952423"/>
            <a:ext cx="224920" cy="4122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9243F6-9AF9-B549-9EC4-B0DCD9299043}"/>
              </a:ext>
            </a:extLst>
          </p:cNvPr>
          <p:cNvSpPr txBox="1"/>
          <p:nvPr/>
        </p:nvSpPr>
        <p:spPr>
          <a:xfrm rot="16200000">
            <a:off x="-444182" y="4749077"/>
            <a:ext cx="2983614" cy="4066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low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path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change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event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73F5761-A08A-FB4F-A4DC-2F83061979E1}"/>
              </a:ext>
            </a:extLst>
          </p:cNvPr>
          <p:cNvCxnSpPr>
            <a:cxnSpLocks/>
          </p:cNvCxnSpPr>
          <p:nvPr/>
        </p:nvCxnSpPr>
        <p:spPr>
          <a:xfrm>
            <a:off x="1593191" y="5276922"/>
            <a:ext cx="1333446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3CB56A9-D4C4-9B46-8C92-D906F1943F98}"/>
              </a:ext>
            </a:extLst>
          </p:cNvPr>
          <p:cNvCxnSpPr>
            <a:cxnSpLocks/>
          </p:cNvCxnSpPr>
          <p:nvPr/>
        </p:nvCxnSpPr>
        <p:spPr>
          <a:xfrm flipV="1">
            <a:off x="2926637" y="5276922"/>
            <a:ext cx="0" cy="1061154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5E40877F-385E-4743-9535-CC2E728CA1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795" y="2816482"/>
            <a:ext cx="3224641" cy="27432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DE1B33F-D186-3146-9307-A81B62C5BD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273" y="2783088"/>
            <a:ext cx="2739794" cy="30156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C6208FB-5F08-F74C-A9CA-66C38DB3C2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0794" y="3085847"/>
            <a:ext cx="3119143" cy="29787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2F93A23-1421-2B4A-9C5B-E63E0DA7654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3112"/>
          <a:stretch/>
        </p:blipFill>
        <p:spPr>
          <a:xfrm>
            <a:off x="5081568" y="3090092"/>
            <a:ext cx="1913925" cy="22739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C11D4A4-10BF-AE4C-94D9-50BCFBE4DD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5269" y="3084648"/>
            <a:ext cx="500206" cy="237310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60AAD9B-5A9D-874F-B907-87155CC2CAE2}"/>
              </a:ext>
            </a:extLst>
          </p:cNvPr>
          <p:cNvCxnSpPr>
            <a:cxnSpLocks/>
          </p:cNvCxnSpPr>
          <p:nvPr/>
        </p:nvCxnSpPr>
        <p:spPr>
          <a:xfrm>
            <a:off x="7051859" y="3191155"/>
            <a:ext cx="623199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2364CF8-667C-D24E-9E7A-101B1780E678}"/>
              </a:ext>
            </a:extLst>
          </p:cNvPr>
          <p:cNvCxnSpPr>
            <a:cxnSpLocks/>
          </p:cNvCxnSpPr>
          <p:nvPr/>
        </p:nvCxnSpPr>
        <p:spPr>
          <a:xfrm>
            <a:off x="2926637" y="2442258"/>
            <a:ext cx="0" cy="2782201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799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Flows</a:t>
            </a:r>
            <a:r>
              <a:rPr lang="sv-SE" dirty="0"/>
              <a:t> routes on </a:t>
            </a:r>
            <a:r>
              <a:rPr lang="sv-SE" dirty="0" err="1">
                <a:solidFill>
                  <a:srgbClr val="FF0000"/>
                </a:solidFill>
              </a:rPr>
              <a:t>low-latency</a:t>
            </a:r>
            <a:r>
              <a:rPr lang="sv-SE" dirty="0">
                <a:solidFill>
                  <a:srgbClr val="FF0000"/>
                </a:solidFill>
              </a:rPr>
              <a:t> </a:t>
            </a:r>
            <a:r>
              <a:rPr lang="sv-SE" dirty="0" err="1">
                <a:solidFill>
                  <a:srgbClr val="FF0000"/>
                </a:solidFill>
              </a:rPr>
              <a:t>paths</a:t>
            </a:r>
            <a:r>
              <a:rPr lang="sv-SE" dirty="0">
                <a:solidFill>
                  <a:srgbClr val="FF0000"/>
                </a:solidFill>
              </a:rPr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>
                <a:solidFill>
                  <a:srgbClr val="FF0000"/>
                </a:solidFill>
              </a:rPr>
              <a:t>more</a:t>
            </a:r>
            <a:r>
              <a:rPr lang="sv-SE" dirty="0">
                <a:solidFill>
                  <a:srgbClr val="FF0000"/>
                </a:solidFill>
              </a:rPr>
              <a:t> </a:t>
            </a:r>
            <a:r>
              <a:rPr lang="sv-SE" dirty="0" err="1">
                <a:solidFill>
                  <a:srgbClr val="FF0000"/>
                </a:solidFill>
              </a:rPr>
              <a:t>likely</a:t>
            </a:r>
            <a:r>
              <a:rPr lang="sv-SE" dirty="0">
                <a:solidFill>
                  <a:srgbClr val="FF0000"/>
                </a:solidFill>
              </a:rPr>
              <a:t> </a:t>
            </a:r>
            <a:r>
              <a:rPr lang="sv-SE" dirty="0"/>
              <a:t>to </a:t>
            </a:r>
            <a:r>
              <a:rPr lang="sv-SE" dirty="0" err="1"/>
              <a:t>experience</a:t>
            </a:r>
            <a:r>
              <a:rPr lang="sv-SE" dirty="0"/>
              <a:t> a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</a:t>
            </a:r>
            <a:endParaRPr lang="sv-S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07ED65-310D-4441-90BB-BF3A66A40C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4954" y="2850628"/>
            <a:ext cx="5723438" cy="287490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53B5D8-3C5D-A14F-9C9D-7D669AD60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1</a:t>
            </a:fld>
            <a:endParaRPr lang="sv-SE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D20C3863-8417-534B-8E86-CBAE1735FA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9" y="1346587"/>
            <a:ext cx="7079126" cy="1504041"/>
          </a:xfrm>
        </p:spPr>
        <p:txBody>
          <a:bodyPr>
            <a:normAutofit/>
          </a:bodyPr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counted</a:t>
            </a:r>
            <a:r>
              <a:rPr lang="sv-SE" dirty="0"/>
              <a:t> the </a:t>
            </a:r>
            <a:r>
              <a:rPr lang="sv-SE" dirty="0" err="1"/>
              <a:t>number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moved</a:t>
            </a:r>
            <a:r>
              <a:rPr lang="sv-SE" dirty="0"/>
              <a:t> </a:t>
            </a:r>
            <a:r>
              <a:rPr lang="sv-SE" dirty="0" err="1"/>
              <a:t>away</a:t>
            </a:r>
            <a:r>
              <a:rPr lang="sv-SE" dirty="0"/>
              <a:t> from a </a:t>
            </a:r>
            <a:r>
              <a:rPr lang="sv-SE" dirty="0" err="1"/>
              <a:t>path</a:t>
            </a:r>
            <a:r>
              <a:rPr lang="sv-SE" dirty="0"/>
              <a:t> per </a:t>
            </a:r>
            <a:br>
              <a:rPr lang="sv-SE" dirty="0"/>
            </a:br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class</a:t>
            </a:r>
            <a:r>
              <a:rPr lang="sv-SE" dirty="0"/>
              <a:t> </a:t>
            </a:r>
            <a:r>
              <a:rPr lang="sv-SE"/>
              <a:t>(Oregon-Virginia):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number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moved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is </a:t>
            </a:r>
            <a:r>
              <a:rPr lang="sv-SE" b="1" dirty="0" err="1"/>
              <a:t>inversely</a:t>
            </a:r>
            <a:r>
              <a:rPr lang="sv-SE" b="1" dirty="0"/>
              <a:t> proportional </a:t>
            </a:r>
            <a:r>
              <a:rPr lang="sv-SE" dirty="0"/>
              <a:t>to </a:t>
            </a:r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latency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likely</a:t>
            </a:r>
            <a:r>
              <a:rPr lang="sv-SE" dirty="0"/>
              <a:t> </a:t>
            </a:r>
            <a:r>
              <a:rPr lang="sv-SE" dirty="0" err="1"/>
              <a:t>constrained</a:t>
            </a:r>
            <a:r>
              <a:rPr lang="sv-SE" dirty="0"/>
              <a:t> </a:t>
            </a:r>
            <a:r>
              <a:rPr lang="sv-SE" b="1" dirty="0" err="1"/>
              <a:t>shortest-path-based</a:t>
            </a:r>
            <a:r>
              <a:rPr lang="sv-SE" b="1" dirty="0"/>
              <a:t> TE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55738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easuring</a:t>
            </a:r>
            <a:r>
              <a:rPr lang="sv-SE" dirty="0"/>
              <a:t> the </a:t>
            </a:r>
            <a:r>
              <a:rPr lang="sv-SE" dirty="0" err="1"/>
              <a:t>level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”</a:t>
            </a:r>
            <a:r>
              <a:rPr lang="sv-SE" dirty="0" err="1">
                <a:solidFill>
                  <a:srgbClr val="FF0000"/>
                </a:solidFill>
              </a:rPr>
              <a:t>unfairness</a:t>
            </a:r>
            <a:r>
              <a:rPr lang="sv-SE" dirty="0"/>
              <a:t>” </a:t>
            </a:r>
            <a:r>
              <a:rPr lang="sv-SE" dirty="0" err="1"/>
              <a:t>among</a:t>
            </a:r>
            <a:r>
              <a:rPr lang="sv-SE" dirty="0"/>
              <a:t> </a:t>
            </a:r>
            <a:r>
              <a:rPr lang="sv-SE" dirty="0" err="1"/>
              <a:t>flows</a:t>
            </a:r>
            <a:endParaRPr lang="sv-SE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75A7D20-FD4C-6543-973D-0C975D9B72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578" y="3287211"/>
            <a:ext cx="4470843" cy="267183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2BB83B-4A6C-E44E-BBFE-4B5ADBBC2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2</a:t>
            </a:fld>
            <a:endParaRPr lang="sv-SE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2E65DB45-FDEB-0B4E-B154-2152F0F607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8" y="1346587"/>
            <a:ext cx="7524751" cy="1824876"/>
          </a:xfrm>
        </p:spPr>
        <p:txBody>
          <a:bodyPr>
            <a:normAutofit/>
          </a:bodyPr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measure</a:t>
            </a:r>
            <a:r>
              <a:rPr lang="sv-SE" dirty="0"/>
              <a:t> the </a:t>
            </a:r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each</a:t>
            </a:r>
            <a:r>
              <a:rPr lang="sv-SE" dirty="0"/>
              <a:t> </a:t>
            </a:r>
            <a:r>
              <a:rPr lang="sv-SE" dirty="0" err="1"/>
              <a:t>flow</a:t>
            </a:r>
            <a:r>
              <a:rPr lang="sv-SE" dirty="0"/>
              <a:t> in 20-sec </a:t>
            </a:r>
            <a:r>
              <a:rPr lang="sv-SE" dirty="0" err="1"/>
              <a:t>interval</a:t>
            </a:r>
            <a:r>
              <a:rPr lang="sv-SE" dirty="0"/>
              <a:t> bi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plot</a:t>
            </a:r>
            <a:r>
              <a:rPr lang="sv-SE" dirty="0"/>
              <a:t> the 50’th, 95’th, 99’th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percentiles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bimodal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behaviour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at 50’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>
                <a:solidFill>
                  <a:srgbClr val="FFC000"/>
                </a:solidFill>
              </a:rPr>
              <a:t>12% </a:t>
            </a:r>
            <a:r>
              <a:rPr lang="sv-SE" b="1" dirty="0" err="1">
                <a:solidFill>
                  <a:srgbClr val="FFC000"/>
                </a:solidFill>
              </a:rPr>
              <a:t>difference</a:t>
            </a:r>
            <a:r>
              <a:rPr lang="sv-SE" b="1" dirty="0">
                <a:solidFill>
                  <a:srgbClr val="FFC000"/>
                </a:solidFill>
              </a:rPr>
              <a:t> for all </a:t>
            </a:r>
            <a:r>
              <a:rPr lang="sv-SE" b="1" dirty="0" err="1">
                <a:solidFill>
                  <a:srgbClr val="FFC000"/>
                </a:solidFill>
              </a:rPr>
              <a:t>percentiles</a:t>
            </a:r>
            <a:endParaRPr lang="sv-SE" b="1" dirty="0">
              <a:solidFill>
                <a:srgbClr val="FFC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9A861CA-9D84-C64F-A7CF-B25B49D1CCCB}"/>
              </a:ext>
            </a:extLst>
          </p:cNvPr>
          <p:cNvCxnSpPr>
            <a:cxnSpLocks/>
          </p:cNvCxnSpPr>
          <p:nvPr/>
        </p:nvCxnSpPr>
        <p:spPr>
          <a:xfrm flipH="1">
            <a:off x="3200400" y="2401747"/>
            <a:ext cx="1151681" cy="2291787"/>
          </a:xfrm>
          <a:prstGeom prst="straightConnector1">
            <a:avLst/>
          </a:prstGeom>
          <a:ln w="57150">
            <a:solidFill>
              <a:schemeClr val="accent4">
                <a:lumMod val="7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3B47102-DED5-284B-8A72-9B3290A0E065}"/>
              </a:ext>
            </a:extLst>
          </p:cNvPr>
          <p:cNvCxnSpPr>
            <a:cxnSpLocks/>
          </p:cNvCxnSpPr>
          <p:nvPr/>
        </p:nvCxnSpPr>
        <p:spPr>
          <a:xfrm>
            <a:off x="4572000" y="2401747"/>
            <a:ext cx="1498922" cy="1527858"/>
          </a:xfrm>
          <a:prstGeom prst="straightConnector1">
            <a:avLst/>
          </a:prstGeom>
          <a:ln w="57150">
            <a:solidFill>
              <a:schemeClr val="accent4">
                <a:lumMod val="7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AAFF104-1C87-4446-B170-5142FA8BFD77}"/>
              </a:ext>
            </a:extLst>
          </p:cNvPr>
          <p:cNvCxnSpPr>
            <a:cxnSpLocks/>
          </p:cNvCxnSpPr>
          <p:nvPr/>
        </p:nvCxnSpPr>
        <p:spPr>
          <a:xfrm flipH="1">
            <a:off x="3102015" y="5453605"/>
            <a:ext cx="3414532" cy="0"/>
          </a:xfrm>
          <a:prstGeom prst="straightConnector1">
            <a:avLst/>
          </a:prstGeom>
          <a:ln w="57150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10711F4-FA09-4D4C-BB65-DBCADE82D238}"/>
              </a:ext>
            </a:extLst>
          </p:cNvPr>
          <p:cNvCxnSpPr/>
          <p:nvPr/>
        </p:nvCxnSpPr>
        <p:spPr>
          <a:xfrm>
            <a:off x="6577645" y="3524491"/>
            <a:ext cx="0" cy="1938760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3A73AE9-0AEF-D24A-BEA7-F1770BCF0784}"/>
              </a:ext>
            </a:extLst>
          </p:cNvPr>
          <p:cNvSpPr txBox="1"/>
          <p:nvPr/>
        </p:nvSpPr>
        <p:spPr>
          <a:xfrm>
            <a:off x="4352081" y="5098178"/>
            <a:ext cx="131517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sz="1600" b="1" dirty="0">
                <a:solidFill>
                  <a:srgbClr val="FFC000"/>
                </a:solidFill>
              </a:rPr>
              <a:t>12%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FB50E1-7F28-D741-8661-C8BD3FD720FF}"/>
              </a:ext>
            </a:extLst>
          </p:cNvPr>
          <p:cNvSpPr txBox="1"/>
          <p:nvPr/>
        </p:nvSpPr>
        <p:spPr>
          <a:xfrm rot="16200000">
            <a:off x="1199850" y="4339983"/>
            <a:ext cx="232495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sz="1400" dirty="0">
                <a:latin typeface="Calibri" panose="020F0502020204030204" pitchFamily="34" charset="0"/>
                <a:cs typeface="Calibri" panose="020F0502020204030204" pitchFamily="34" charset="0"/>
              </a:rPr>
              <a:t> TCP </a:t>
            </a:r>
            <a:r>
              <a:rPr lang="sv-SE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onnections</a:t>
            </a:r>
            <a:endParaRPr lang="sv-S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51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49" y="404870"/>
            <a:ext cx="7468469" cy="668338"/>
          </a:xfrm>
        </p:spPr>
        <p:txBody>
          <a:bodyPr/>
          <a:lstStyle/>
          <a:p>
            <a:r>
              <a:rPr lang="sv-SE" dirty="0" err="1"/>
              <a:t>Measuring</a:t>
            </a:r>
            <a:r>
              <a:rPr lang="sv-SE" dirty="0"/>
              <a:t> </a:t>
            </a:r>
            <a:r>
              <a:rPr lang="sv-SE" dirty="0" err="1"/>
              <a:t>instabilities</a:t>
            </a:r>
            <a:r>
              <a:rPr lang="sv-SE" dirty="0"/>
              <a:t> </a:t>
            </a:r>
            <a:r>
              <a:rPr lang="sv-SE" dirty="0" err="1"/>
              <a:t>during</a:t>
            </a:r>
            <a:r>
              <a:rPr lang="sv-SE" dirty="0"/>
              <a:t> ”</a:t>
            </a:r>
            <a:r>
              <a:rPr lang="sv-SE" dirty="0" err="1"/>
              <a:t>low</a:t>
            </a:r>
            <a:r>
              <a:rPr lang="sv-SE" dirty="0"/>
              <a:t>” or ”</a:t>
            </a:r>
            <a:r>
              <a:rPr lang="sv-SE" dirty="0" err="1"/>
              <a:t>high</a:t>
            </a:r>
            <a:r>
              <a:rPr lang="sv-SE" dirty="0"/>
              <a:t>” </a:t>
            </a:r>
            <a:r>
              <a:rPr lang="sv-SE" dirty="0" err="1"/>
              <a:t>season</a:t>
            </a:r>
            <a:endParaRPr lang="sv-SE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A87DA79-463E-C94B-A2D7-FB51C9405A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004" y="3171463"/>
            <a:ext cx="4647235" cy="274833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C6D1E4-0845-5A44-9114-149AE266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3</a:t>
            </a:fld>
            <a:endParaRPr lang="sv-SE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7FEA2618-CD19-3F46-AA7E-E69266026C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8" y="1346587"/>
            <a:ext cx="6491479" cy="3265256"/>
          </a:xfrm>
        </p:spPr>
        <p:txBody>
          <a:bodyPr>
            <a:normAutofit/>
          </a:bodyPr>
          <a:lstStyle/>
          <a:p>
            <a:r>
              <a:rPr lang="en" dirty="0"/>
              <a:t>Large cloud networks tune the “aggressiveness” of their TE mechanisms according to the users’ load</a:t>
            </a:r>
          </a:p>
          <a:p>
            <a:r>
              <a:rPr lang="en" dirty="0"/>
              <a:t>We performed again the same measurements during “low” season, expecting to see less path changes</a:t>
            </a:r>
            <a:endParaRPr lang="sv-S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E67DAB-706D-2144-ACE9-991C192E04FD}"/>
              </a:ext>
            </a:extLst>
          </p:cNvPr>
          <p:cNvSpPr txBox="1"/>
          <p:nvPr/>
        </p:nvSpPr>
        <p:spPr>
          <a:xfrm>
            <a:off x="4103225" y="4085393"/>
            <a:ext cx="58452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33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654ED7-AB26-9740-8231-C99C27CC0B88}"/>
              </a:ext>
            </a:extLst>
          </p:cNvPr>
          <p:cNvSpPr txBox="1"/>
          <p:nvPr/>
        </p:nvSpPr>
        <p:spPr>
          <a:xfrm rot="16200000">
            <a:off x="1395526" y="4356860"/>
            <a:ext cx="2324956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low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path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change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events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A9820F8-F3AD-974C-A4FD-3DB9439D1F5B}"/>
              </a:ext>
            </a:extLst>
          </p:cNvPr>
          <p:cNvSpPr/>
          <p:nvPr/>
        </p:nvSpPr>
        <p:spPr>
          <a:xfrm>
            <a:off x="3264061" y="3796496"/>
            <a:ext cx="3871731" cy="1024360"/>
          </a:xfrm>
          <a:custGeom>
            <a:avLst/>
            <a:gdLst>
              <a:gd name="connsiteX0" fmla="*/ 3865944 w 3871731"/>
              <a:gd name="connsiteY0" fmla="*/ 0 h 1024360"/>
              <a:gd name="connsiteX1" fmla="*/ 2355448 w 3871731"/>
              <a:gd name="connsiteY1" fmla="*/ 115747 h 1024360"/>
              <a:gd name="connsiteX2" fmla="*/ 2257063 w 3871731"/>
              <a:gd name="connsiteY2" fmla="*/ 144684 h 1024360"/>
              <a:gd name="connsiteX3" fmla="*/ 2181828 w 3871731"/>
              <a:gd name="connsiteY3" fmla="*/ 225707 h 1024360"/>
              <a:gd name="connsiteX4" fmla="*/ 1828800 w 3871731"/>
              <a:gd name="connsiteY4" fmla="*/ 515074 h 1024360"/>
              <a:gd name="connsiteX5" fmla="*/ 364602 w 3871731"/>
              <a:gd name="connsiteY5" fmla="*/ 798653 h 1024360"/>
              <a:gd name="connsiteX6" fmla="*/ 133109 w 3871731"/>
              <a:gd name="connsiteY6" fmla="*/ 920188 h 1024360"/>
              <a:gd name="connsiteX7" fmla="*/ 0 w 3871731"/>
              <a:gd name="connsiteY7" fmla="*/ 1024360 h 1024360"/>
              <a:gd name="connsiteX8" fmla="*/ 3871731 w 3871731"/>
              <a:gd name="connsiteY8" fmla="*/ 949124 h 1024360"/>
              <a:gd name="connsiteX9" fmla="*/ 3865944 w 3871731"/>
              <a:gd name="connsiteY9" fmla="*/ 0 h 1024360"/>
              <a:gd name="connsiteX0" fmla="*/ 3865944 w 3871731"/>
              <a:gd name="connsiteY0" fmla="*/ 0 h 1024360"/>
              <a:gd name="connsiteX1" fmla="*/ 2355448 w 3871731"/>
              <a:gd name="connsiteY1" fmla="*/ 115747 h 1024360"/>
              <a:gd name="connsiteX2" fmla="*/ 2257063 w 3871731"/>
              <a:gd name="connsiteY2" fmla="*/ 144684 h 1024360"/>
              <a:gd name="connsiteX3" fmla="*/ 2106592 w 3871731"/>
              <a:gd name="connsiteY3" fmla="*/ 306730 h 1024360"/>
              <a:gd name="connsiteX4" fmla="*/ 1828800 w 3871731"/>
              <a:gd name="connsiteY4" fmla="*/ 515074 h 1024360"/>
              <a:gd name="connsiteX5" fmla="*/ 364602 w 3871731"/>
              <a:gd name="connsiteY5" fmla="*/ 798653 h 1024360"/>
              <a:gd name="connsiteX6" fmla="*/ 133109 w 3871731"/>
              <a:gd name="connsiteY6" fmla="*/ 920188 h 1024360"/>
              <a:gd name="connsiteX7" fmla="*/ 0 w 3871731"/>
              <a:gd name="connsiteY7" fmla="*/ 1024360 h 1024360"/>
              <a:gd name="connsiteX8" fmla="*/ 3871731 w 3871731"/>
              <a:gd name="connsiteY8" fmla="*/ 949124 h 1024360"/>
              <a:gd name="connsiteX9" fmla="*/ 3865944 w 3871731"/>
              <a:gd name="connsiteY9" fmla="*/ 0 h 1024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71731" h="1024360">
                <a:moveTo>
                  <a:pt x="3865944" y="0"/>
                </a:moveTo>
                <a:lnTo>
                  <a:pt x="2355448" y="115747"/>
                </a:lnTo>
                <a:lnTo>
                  <a:pt x="2257063" y="144684"/>
                </a:lnTo>
                <a:lnTo>
                  <a:pt x="2106592" y="306730"/>
                </a:lnTo>
                <a:lnTo>
                  <a:pt x="1828800" y="515074"/>
                </a:lnTo>
                <a:lnTo>
                  <a:pt x="364602" y="798653"/>
                </a:lnTo>
                <a:lnTo>
                  <a:pt x="133109" y="920188"/>
                </a:lnTo>
                <a:lnTo>
                  <a:pt x="0" y="1024360"/>
                </a:lnTo>
                <a:lnTo>
                  <a:pt x="3871731" y="949124"/>
                </a:lnTo>
                <a:lnTo>
                  <a:pt x="386594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7C1D59-A150-0E43-BE2F-9AFC94F65DA8}"/>
              </a:ext>
            </a:extLst>
          </p:cNvPr>
          <p:cNvSpPr/>
          <p:nvPr/>
        </p:nvSpPr>
        <p:spPr>
          <a:xfrm>
            <a:off x="5034987" y="3171463"/>
            <a:ext cx="1446836" cy="1537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724F43F-9522-F04E-AA56-2005411FBF35}"/>
              </a:ext>
            </a:extLst>
          </p:cNvPr>
          <p:cNvCxnSpPr>
            <a:cxnSpLocks/>
          </p:cNvCxnSpPr>
          <p:nvPr/>
        </p:nvCxnSpPr>
        <p:spPr>
          <a:xfrm flipV="1">
            <a:off x="3264061" y="4901878"/>
            <a:ext cx="0" cy="544011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C9EDFA9-2321-E543-A02E-B0DFA1A8F5F9}"/>
              </a:ext>
            </a:extLst>
          </p:cNvPr>
          <p:cNvSpPr txBox="1"/>
          <p:nvPr/>
        </p:nvSpPr>
        <p:spPr>
          <a:xfrm>
            <a:off x="3140503" y="4881495"/>
            <a:ext cx="1971743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is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this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network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update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churn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?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468FDAD-8114-DC4D-8EF3-276ECB384E19}"/>
              </a:ext>
            </a:extLst>
          </p:cNvPr>
          <p:cNvCxnSpPr>
            <a:cxnSpLocks/>
          </p:cNvCxnSpPr>
          <p:nvPr/>
        </p:nvCxnSpPr>
        <p:spPr>
          <a:xfrm flipH="1">
            <a:off x="4126375" y="4440820"/>
            <a:ext cx="584522" cy="0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5606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 animBg="1"/>
      <p:bldP spid="11" grpId="0" animBg="1"/>
      <p:bldP spid="1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97D20BA-044B-1F4C-8B60-F84962C272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376" y="2845716"/>
            <a:ext cx="8672624" cy="343933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F30EB2B-2D6F-5B4F-9491-3651B83D8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ing 1K of data can take 18% more time when the flow is mapped to a high latency pat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E3E42D-F0D9-F040-BCA9-0320C22AD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4</a:t>
            </a:fld>
            <a:endParaRPr lang="sv-S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E9DFAE-A08D-3946-8D0D-8F66C8789045}"/>
              </a:ext>
            </a:extLst>
          </p:cNvPr>
          <p:cNvSpPr txBox="1"/>
          <p:nvPr/>
        </p:nvSpPr>
        <p:spPr>
          <a:xfrm rot="16200000">
            <a:off x="-1297186" y="4244946"/>
            <a:ext cx="316779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dirty="0" err="1">
                <a:latin typeface="Calibri" panose="020F0502020204030204" pitchFamily="34" charset="0"/>
                <a:cs typeface="Calibri" panose="020F0502020204030204" pitchFamily="34" charset="0"/>
              </a:rPr>
              <a:t>iperf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dirty="0" err="1">
                <a:latin typeface="Calibri" panose="020F0502020204030204" pitchFamily="34" charset="0"/>
                <a:cs typeface="Calibri" panose="020F0502020204030204" pitchFamily="34" charset="0"/>
              </a:rPr>
              <a:t>connections</a:t>
            </a:r>
            <a:endParaRPr lang="sv-S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009BA80B-3D2E-944D-B9B7-CFD3EA8FE7C5}"/>
              </a:ext>
            </a:extLst>
          </p:cNvPr>
          <p:cNvSpPr txBox="1">
            <a:spLocks/>
          </p:cNvSpPr>
          <p:nvPr/>
        </p:nvSpPr>
        <p:spPr>
          <a:xfrm>
            <a:off x="1619248" y="1346587"/>
            <a:ext cx="6491479" cy="32652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" dirty="0"/>
              <a:t>We generated a large number of </a:t>
            </a:r>
            <a:r>
              <a:rPr lang="en" dirty="0" err="1"/>
              <a:t>iperf</a:t>
            </a:r>
            <a:r>
              <a:rPr lang="en" dirty="0"/>
              <a:t> tests from Oregon (US west coast) to Virginia (US east coast) </a:t>
            </a:r>
          </a:p>
          <a:p>
            <a:r>
              <a:rPr lang="en" dirty="0"/>
              <a:t>We moved 1K of data in each </a:t>
            </a:r>
            <a:r>
              <a:rPr lang="en" dirty="0" err="1"/>
              <a:t>iperf</a:t>
            </a:r>
            <a:r>
              <a:rPr lang="en" dirty="0"/>
              <a:t> test</a:t>
            </a:r>
          </a:p>
          <a:p>
            <a:r>
              <a:rPr lang="en" dirty="0"/>
              <a:t>We did not observe any packet retransmission</a:t>
            </a:r>
          </a:p>
          <a:p>
            <a:endParaRPr lang="sv-S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E350AC-595C-BF43-93C7-0E2D281232A9}"/>
              </a:ext>
            </a:extLst>
          </p:cNvPr>
          <p:cNvSpPr txBox="1"/>
          <p:nvPr/>
        </p:nvSpPr>
        <p:spPr>
          <a:xfrm>
            <a:off x="4649524" y="4149195"/>
            <a:ext cx="58452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18%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ED080A2-3CE7-6748-98C8-9583298FA2CC}"/>
              </a:ext>
            </a:extLst>
          </p:cNvPr>
          <p:cNvCxnSpPr>
            <a:cxnSpLocks/>
          </p:cNvCxnSpPr>
          <p:nvPr/>
        </p:nvCxnSpPr>
        <p:spPr>
          <a:xfrm flipH="1">
            <a:off x="1653973" y="4550714"/>
            <a:ext cx="6575627" cy="16873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1DC26DA-A274-9348-AB15-77DF4A988A18}"/>
              </a:ext>
            </a:extLst>
          </p:cNvPr>
          <p:cNvCxnSpPr/>
          <p:nvPr/>
        </p:nvCxnSpPr>
        <p:spPr>
          <a:xfrm>
            <a:off x="1619248" y="4487749"/>
            <a:ext cx="0" cy="1021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FC4BFAB-584D-574A-A335-30EDCF50710B}"/>
              </a:ext>
            </a:extLst>
          </p:cNvPr>
          <p:cNvCxnSpPr>
            <a:cxnSpLocks/>
          </p:cNvCxnSpPr>
          <p:nvPr/>
        </p:nvCxnSpPr>
        <p:spPr>
          <a:xfrm>
            <a:off x="8229600" y="3321934"/>
            <a:ext cx="0" cy="11076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3891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49" y="404870"/>
            <a:ext cx="7468469" cy="668338"/>
          </a:xfrm>
        </p:spPr>
        <p:txBody>
          <a:bodyPr/>
          <a:lstStyle/>
          <a:p>
            <a:r>
              <a:rPr lang="sv-SE" dirty="0" err="1"/>
              <a:t>Conclusions</a:t>
            </a:r>
            <a:r>
              <a:rPr lang="sv-SE" dirty="0"/>
              <a:t> and </a:t>
            </a:r>
            <a:r>
              <a:rPr lang="sv-SE" dirty="0" err="1"/>
              <a:t>takeaway</a:t>
            </a:r>
            <a:r>
              <a:rPr lang="sv-SE" dirty="0"/>
              <a:t>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C6D1E4-0845-5A44-9114-149AE266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5</a:t>
            </a:fld>
            <a:endParaRPr lang="sv-SE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7FEA2618-CD19-3F46-AA7E-E69266026C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8" y="1346586"/>
            <a:ext cx="7524751" cy="4608589"/>
          </a:xfrm>
        </p:spPr>
        <p:txBody>
          <a:bodyPr>
            <a:normAutofit/>
          </a:bodyPr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measured</a:t>
            </a:r>
            <a:r>
              <a:rPr lang="sv-SE" dirty="0"/>
              <a:t> the </a:t>
            </a:r>
            <a:r>
              <a:rPr lang="sv-SE" dirty="0" err="1"/>
              <a:t>largest</a:t>
            </a:r>
            <a:r>
              <a:rPr lang="sv-SE" dirty="0"/>
              <a:t> </a:t>
            </a:r>
            <a:r>
              <a:rPr lang="sv-SE" dirty="0" err="1"/>
              <a:t>worldwide</a:t>
            </a:r>
            <a:r>
              <a:rPr lang="sv-SE" dirty="0"/>
              <a:t> </a:t>
            </a:r>
            <a:r>
              <a:rPr lang="sv-SE" dirty="0" err="1"/>
              <a:t>cloud</a:t>
            </a:r>
            <a:r>
              <a:rPr lang="sv-SE" dirty="0"/>
              <a:t> </a:t>
            </a:r>
            <a:r>
              <a:rPr lang="sv-SE" dirty="0" err="1"/>
              <a:t>backbone</a:t>
            </a:r>
            <a:r>
              <a:rPr lang="sv-SE" dirty="0"/>
              <a:t> </a:t>
            </a:r>
            <a:r>
              <a:rPr lang="sv-SE" dirty="0" err="1"/>
              <a:t>network</a:t>
            </a:r>
            <a:r>
              <a:rPr lang="sv-SE" dirty="0"/>
              <a:t> (AWS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Insight</a:t>
            </a:r>
            <a:r>
              <a:rPr lang="sv-SE" b="1" dirty="0"/>
              <a:t> #1</a:t>
            </a:r>
            <a:r>
              <a:rPr lang="sv-SE" dirty="0"/>
              <a:t>: </a:t>
            </a:r>
            <a:r>
              <a:rPr lang="sv-SE" b="1" dirty="0" err="1">
                <a:solidFill>
                  <a:srgbClr val="FF0000"/>
                </a:solidFill>
              </a:rPr>
              <a:t>very</a:t>
            </a:r>
            <a:r>
              <a:rPr lang="sv-SE" b="1" dirty="0">
                <a:solidFill>
                  <a:srgbClr val="FF0000"/>
                </a:solidFill>
              </a:rPr>
              <a:t> </a:t>
            </a:r>
            <a:r>
              <a:rPr lang="sv-SE" b="1" dirty="0" err="1">
                <a:solidFill>
                  <a:srgbClr val="FF0000"/>
                </a:solidFill>
              </a:rPr>
              <a:t>reactive</a:t>
            </a:r>
            <a:r>
              <a:rPr lang="sv-SE" b="1" dirty="0">
                <a:solidFill>
                  <a:srgbClr val="FF0000"/>
                </a:solidFill>
              </a:rPr>
              <a:t> TE</a:t>
            </a:r>
            <a:r>
              <a:rPr lang="sv-SE" dirty="0"/>
              <a:t>, </a:t>
            </a:r>
            <a:r>
              <a:rPr lang="sv-SE" dirty="0" err="1"/>
              <a:t>especially</a:t>
            </a:r>
            <a:r>
              <a:rPr lang="sv-SE" dirty="0"/>
              <a:t> </a:t>
            </a:r>
            <a:r>
              <a:rPr lang="sv-SE" dirty="0" err="1"/>
              <a:t>across</a:t>
            </a:r>
            <a:r>
              <a:rPr lang="sv-SE" dirty="0"/>
              <a:t> </a:t>
            </a:r>
            <a:r>
              <a:rPr lang="sv-SE" dirty="0" err="1"/>
              <a:t>some</a:t>
            </a:r>
            <a:r>
              <a:rPr lang="sv-SE" dirty="0"/>
              <a:t> reg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Insight</a:t>
            </a:r>
            <a:r>
              <a:rPr lang="sv-SE" b="1" dirty="0"/>
              <a:t> #2</a:t>
            </a:r>
            <a:r>
              <a:rPr lang="sv-SE" dirty="0"/>
              <a:t>: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experience</a:t>
            </a:r>
            <a:r>
              <a:rPr lang="sv-SE" dirty="0"/>
              <a:t> </a:t>
            </a:r>
            <a:r>
              <a:rPr lang="sv-SE" b="1" dirty="0" err="1">
                <a:solidFill>
                  <a:srgbClr val="FF0000"/>
                </a:solidFill>
              </a:rPr>
              <a:t>unfair</a:t>
            </a:r>
            <a:r>
              <a:rPr lang="sv-SE" dirty="0"/>
              <a:t> </a:t>
            </a:r>
            <a:r>
              <a:rPr lang="sv-SE" dirty="0" err="1"/>
              <a:t>treatment</a:t>
            </a:r>
            <a:r>
              <a:rPr lang="sv-SE" dirty="0"/>
              <a:t> </a:t>
            </a:r>
          </a:p>
          <a:p>
            <a:pPr marL="698500" lvl="1" indent="-342900"/>
            <a:r>
              <a:rPr lang="sv-SE" dirty="0" err="1"/>
              <a:t>both</a:t>
            </a:r>
            <a:r>
              <a:rPr lang="sv-SE" dirty="0"/>
              <a:t> in Round </a:t>
            </a:r>
            <a:r>
              <a:rPr lang="sv-SE" dirty="0" err="1"/>
              <a:t>Trip</a:t>
            </a:r>
            <a:r>
              <a:rPr lang="sv-SE" dirty="0"/>
              <a:t> </a:t>
            </a:r>
            <a:r>
              <a:rPr lang="sv-SE" dirty="0" err="1"/>
              <a:t>Time</a:t>
            </a:r>
            <a:r>
              <a:rPr lang="sv-SE" dirty="0"/>
              <a:t> and in the </a:t>
            </a:r>
            <a:r>
              <a:rPr lang="sv-SE" dirty="0" err="1"/>
              <a:t>number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s</a:t>
            </a:r>
            <a:endParaRPr lang="sv-SE" dirty="0"/>
          </a:p>
          <a:p>
            <a:pPr marL="342900" indent="-342900"/>
            <a:endParaRPr lang="sv-SE" dirty="0"/>
          </a:p>
          <a:p>
            <a:pPr marL="342900" indent="-342900"/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Far-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reaching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implications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/>
              <a:t>on the </a:t>
            </a:r>
            <a:r>
              <a:rPr lang="sv-SE" dirty="0" err="1"/>
              <a:t>cloud</a:t>
            </a:r>
            <a:r>
              <a:rPr lang="sv-SE" dirty="0"/>
              <a:t> </a:t>
            </a:r>
            <a:r>
              <a:rPr lang="sv-SE" dirty="0">
                <a:sym typeface="Wingdings" pitchFamily="2" charset="2"/>
              </a:rPr>
              <a:t> </a:t>
            </a:r>
            <a:r>
              <a:rPr lang="sv-SE" dirty="0" err="1">
                <a:sym typeface="Wingdings" pitchFamily="2" charset="2"/>
              </a:rPr>
              <a:t>tenants</a:t>
            </a:r>
            <a:r>
              <a:rPr lang="sv-SE" dirty="0">
                <a:sym typeface="Wingdings" pitchFamily="2" charset="2"/>
              </a:rPr>
              <a:t> </a:t>
            </a:r>
            <a:r>
              <a:rPr lang="sv-SE" dirty="0" err="1">
                <a:sym typeface="Wingdings" pitchFamily="2" charset="2"/>
              </a:rPr>
              <a:t>interaction</a:t>
            </a:r>
            <a:r>
              <a:rPr lang="sv-SE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congestion</a:t>
            </a:r>
            <a:r>
              <a:rPr lang="sv-SE" b="1" dirty="0"/>
              <a:t> </a:t>
            </a:r>
            <a:r>
              <a:rPr lang="sv-SE" b="1" dirty="0" err="1"/>
              <a:t>control</a:t>
            </a:r>
            <a:r>
              <a:rPr lang="sv-SE" b="1" dirty="0"/>
              <a:t>: </a:t>
            </a:r>
            <a:r>
              <a:rPr lang="sv-SE" dirty="0"/>
              <a:t>TCP </a:t>
            </a:r>
            <a:r>
              <a:rPr lang="sv-SE" dirty="0" err="1"/>
              <a:t>Cubic</a:t>
            </a:r>
            <a:r>
              <a:rPr lang="sv-SE" dirty="0"/>
              <a:t> </a:t>
            </a:r>
            <a:r>
              <a:rPr lang="sv-SE" dirty="0" err="1"/>
              <a:t>suffers</a:t>
            </a:r>
            <a:r>
              <a:rPr lang="sv-SE" dirty="0"/>
              <a:t> from packet </a:t>
            </a:r>
            <a:r>
              <a:rPr lang="sv-SE" dirty="0" err="1"/>
              <a:t>reordering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latency</a:t>
            </a:r>
            <a:r>
              <a:rPr lang="sv-SE" dirty="0"/>
              <a:t>: </a:t>
            </a:r>
            <a:r>
              <a:rPr lang="sv-SE" dirty="0" err="1"/>
              <a:t>low-latency</a:t>
            </a:r>
            <a:r>
              <a:rPr lang="sv-SE" dirty="0"/>
              <a:t> geo-</a:t>
            </a:r>
            <a:r>
              <a:rPr lang="sv-SE" dirty="0" err="1"/>
              <a:t>distributed</a:t>
            </a:r>
            <a:r>
              <a:rPr lang="sv-SE" dirty="0"/>
              <a:t> </a:t>
            </a:r>
            <a:r>
              <a:rPr lang="sv-SE" dirty="0" err="1"/>
              <a:t>emerging</a:t>
            </a:r>
            <a:r>
              <a:rPr lang="sv-SE" dirty="0"/>
              <a:t> </a:t>
            </a:r>
            <a:r>
              <a:rPr lang="sv-SE" dirty="0" err="1"/>
              <a:t>applications</a:t>
            </a:r>
            <a:r>
              <a:rPr lang="sv-SE" dirty="0"/>
              <a:t>  </a:t>
            </a:r>
            <a:br>
              <a:rPr lang="sv-SE" dirty="0"/>
            </a:br>
            <a:r>
              <a:rPr lang="sv-SE" dirty="0" err="1"/>
              <a:t>require</a:t>
            </a:r>
            <a:r>
              <a:rPr lang="sv-SE" dirty="0"/>
              <a:t>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low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/>
              <a:t>and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deterministic</a:t>
            </a:r>
            <a:r>
              <a:rPr lang="sv-SE" dirty="0"/>
              <a:t> </a:t>
            </a:r>
            <a:r>
              <a:rPr lang="sv-SE" dirty="0" err="1"/>
              <a:t>latencies</a:t>
            </a:r>
            <a:endParaRPr lang="sv-SE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selfish-routing</a:t>
            </a:r>
            <a:r>
              <a:rPr lang="sv-SE" dirty="0"/>
              <a:t>: </a:t>
            </a:r>
            <a:r>
              <a:rPr lang="sv-SE" dirty="0" err="1"/>
              <a:t>application</a:t>
            </a:r>
            <a:r>
              <a:rPr lang="sv-SE" dirty="0"/>
              <a:t> </a:t>
            </a:r>
            <a:r>
              <a:rPr lang="sv-SE" dirty="0" err="1"/>
              <a:t>developers</a:t>
            </a:r>
            <a:r>
              <a:rPr lang="sv-SE" dirty="0"/>
              <a:t> </a:t>
            </a:r>
            <a:r>
              <a:rPr lang="sv-SE" dirty="0" err="1"/>
              <a:t>can</a:t>
            </a:r>
            <a:r>
              <a:rPr lang="sv-SE" dirty="0"/>
              <a:t> force </a:t>
            </a:r>
            <a:r>
              <a:rPr lang="sv-SE" dirty="0" err="1"/>
              <a:t>multiplexing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on </a:t>
            </a:r>
            <a:r>
              <a:rPr lang="sv-SE" dirty="0" err="1"/>
              <a:t>shortest</a:t>
            </a:r>
            <a:r>
              <a:rPr lang="sv-SE" dirty="0"/>
              <a:t> </a:t>
            </a:r>
            <a:r>
              <a:rPr lang="sv-SE" dirty="0" err="1"/>
              <a:t>paths</a:t>
            </a:r>
            <a:r>
              <a:rPr lang="sv-SE" dirty="0"/>
              <a:t>, </a:t>
            </a:r>
            <a:r>
              <a:rPr lang="sv-SE" dirty="0" err="1"/>
              <a:t>ultimately</a:t>
            </a:r>
            <a:r>
              <a:rPr lang="sv-SE" dirty="0"/>
              <a:t> </a:t>
            </a:r>
            <a:r>
              <a:rPr lang="sv-SE" dirty="0" err="1"/>
              <a:t>defeating</a:t>
            </a:r>
            <a:r>
              <a:rPr lang="sv-SE" dirty="0"/>
              <a:t> </a:t>
            </a:r>
            <a:r>
              <a:rPr lang="sv-SE" dirty="0" err="1"/>
              <a:t>cloud</a:t>
            </a:r>
            <a:r>
              <a:rPr lang="sv-SE" dirty="0"/>
              <a:t> TE ope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14" name="Underrubrik 5">
            <a:extLst>
              <a:ext uri="{FF2B5EF4-FFF2-40B4-BE49-F238E27FC236}">
                <a16:creationId xmlns:a16="http://schemas.microsoft.com/office/drawing/2014/main" id="{26D5AD4A-7E26-CA41-9C22-E606D9400FDC}"/>
              </a:ext>
            </a:extLst>
          </p:cNvPr>
          <p:cNvSpPr txBox="1">
            <a:spLocks/>
          </p:cNvSpPr>
          <p:nvPr/>
        </p:nvSpPr>
        <p:spPr bwMode="gray">
          <a:xfrm>
            <a:off x="1219920" y="5237767"/>
            <a:ext cx="7468470" cy="16942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b="1" dirty="0" err="1"/>
              <a:t>Thank</a:t>
            </a:r>
            <a:r>
              <a:rPr lang="sv-SE" b="1" dirty="0"/>
              <a:t> </a:t>
            </a:r>
            <a:r>
              <a:rPr lang="sv-SE" b="1" dirty="0" err="1"/>
              <a:t>you</a:t>
            </a:r>
            <a:r>
              <a:rPr lang="sv-SE" b="1" dirty="0"/>
              <a:t>!</a:t>
            </a:r>
            <a:br>
              <a:rPr lang="sv-SE" b="1" dirty="0"/>
            </a:br>
            <a:r>
              <a:rPr lang="sv-SE" b="1" dirty="0"/>
              <a:t>Marco Chiesa &lt; </a:t>
            </a:r>
            <a:r>
              <a:rPr lang="sv-SE" b="1" dirty="0" err="1"/>
              <a:t>mchiesa@kth.se</a:t>
            </a:r>
            <a:r>
              <a:rPr lang="sv-SE" b="1" dirty="0"/>
              <a:t> &gt;</a:t>
            </a:r>
            <a:br>
              <a:rPr lang="sv-SE" b="1" dirty="0"/>
            </a:br>
            <a:r>
              <a:rPr lang="sv-SE" sz="1600" b="1" dirty="0">
                <a:solidFill>
                  <a:schemeClr val="bg1"/>
                </a:solidFill>
              </a:rPr>
              <a:t>KTH Royal </a:t>
            </a:r>
            <a:r>
              <a:rPr lang="sv-SE" sz="1600" b="1" dirty="0" err="1">
                <a:solidFill>
                  <a:schemeClr val="bg1"/>
                </a:solidFill>
              </a:rPr>
              <a:t>Institute</a:t>
            </a:r>
            <a:r>
              <a:rPr lang="sv-SE" sz="1600" b="1" dirty="0">
                <a:solidFill>
                  <a:schemeClr val="bg1"/>
                </a:solidFill>
              </a:rPr>
              <a:t> </a:t>
            </a:r>
            <a:r>
              <a:rPr lang="sv-SE" sz="1600" b="1" dirty="0" err="1">
                <a:solidFill>
                  <a:schemeClr val="bg1"/>
                </a:solidFill>
              </a:rPr>
              <a:t>of</a:t>
            </a:r>
            <a:r>
              <a:rPr lang="sv-SE" sz="1600" b="1" dirty="0">
                <a:solidFill>
                  <a:schemeClr val="bg1"/>
                </a:solidFill>
              </a:rPr>
              <a:t> </a:t>
            </a:r>
            <a:r>
              <a:rPr lang="sv-SE" sz="1600" b="1" dirty="0" err="1">
                <a:solidFill>
                  <a:schemeClr val="bg1"/>
                </a:solidFill>
              </a:rPr>
              <a:t>Technology</a:t>
            </a:r>
            <a:endParaRPr lang="sv-S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9506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ish routing: giving control to the cloud tenants may lead to an </a:t>
            </a:r>
            <a:r>
              <a:rPr lang="en-US" dirty="0">
                <a:solidFill>
                  <a:srgbClr val="FF0000"/>
                </a:solidFill>
              </a:rPr>
              <a:t>unhealthy </a:t>
            </a:r>
            <a:r>
              <a:rPr lang="en-US" dirty="0"/>
              <a:t>situ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6</a:t>
            </a:fld>
            <a:endParaRPr lang="sv-SE" dirty="0"/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86DACB2-66CB-8C4F-B570-0B141A2C7B1A}"/>
              </a:ext>
            </a:extLst>
          </p:cNvPr>
          <p:cNvSpPr/>
          <p:nvPr/>
        </p:nvSpPr>
        <p:spPr>
          <a:xfrm>
            <a:off x="5670634" y="5014734"/>
            <a:ext cx="1678330" cy="251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705FBEB-59D7-8C4C-9B48-C59E30AF5BA3}"/>
              </a:ext>
            </a:extLst>
          </p:cNvPr>
          <p:cNvSpPr/>
          <p:nvPr/>
        </p:nvSpPr>
        <p:spPr>
          <a:xfrm>
            <a:off x="5682209" y="4760087"/>
            <a:ext cx="1678330" cy="2519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662768-7166-C64D-BD9C-43370AA09D3D}"/>
              </a:ext>
            </a:extLst>
          </p:cNvPr>
          <p:cNvSpPr/>
          <p:nvPr/>
        </p:nvSpPr>
        <p:spPr>
          <a:xfrm>
            <a:off x="5682209" y="4505443"/>
            <a:ext cx="1678330" cy="25199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E561586-EBE4-7545-807E-2776DC5C5026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08A9764-1D85-354F-9C57-0F9BB0ECD7EC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88C2A8-093F-CE4C-8846-1B4289693624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96DAFD5-AA32-1B44-97BC-9E1299AC886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4752520" y="163125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4752520" y="2177395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4487172" y="1947849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4573226" y="1954380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6598474" y="1940032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6684528" y="1946563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5330525" y="2757816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5332684" y="1241995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3118079" y="1760460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3120144" y="2002550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3119824" y="2269746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2252389" y="166598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2247903" y="1945226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2251393" y="2224470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3AD1A40-8192-0F46-954C-FE65328EEC72}"/>
                  </a:ext>
                </a:extLst>
              </p:cNvPr>
              <p:cNvSpPr txBox="1"/>
              <p:nvPr/>
            </p:nvSpPr>
            <p:spPr>
              <a:xfrm>
                <a:off x="4668493" y="1329463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3AD1A40-8192-0F46-954C-FE65328EEC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8493" y="1329463"/>
                <a:ext cx="516153" cy="414088"/>
              </a:xfrm>
              <a:prstGeom prst="rect">
                <a:avLst/>
              </a:prstGeom>
              <a:blipFill>
                <a:blip r:embed="rId2"/>
                <a:stretch>
                  <a:fillRect l="-48780" t="-112121" r="-29268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6A39CEB-1D2E-3E48-BD07-4BC139EEC532}"/>
                  </a:ext>
                </a:extLst>
              </p:cNvPr>
              <p:cNvSpPr txBox="1"/>
              <p:nvPr/>
            </p:nvSpPr>
            <p:spPr>
              <a:xfrm>
                <a:off x="4668492" y="2616423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6A39CEB-1D2E-3E48-BD07-4BC139EEC5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8492" y="2616423"/>
                <a:ext cx="516153" cy="412485"/>
              </a:xfrm>
              <a:prstGeom prst="rect">
                <a:avLst/>
              </a:prstGeom>
              <a:blipFill>
                <a:blip r:embed="rId3"/>
                <a:stretch>
                  <a:fillRect l="-48780" t="-112121" r="-29268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Right Arrow 55">
            <a:extLst>
              <a:ext uri="{FF2B5EF4-FFF2-40B4-BE49-F238E27FC236}">
                <a16:creationId xmlns:a16="http://schemas.microsoft.com/office/drawing/2014/main" id="{7A3D1924-5CF4-B344-9BE7-3D4A6F6612A6}"/>
              </a:ext>
            </a:extLst>
          </p:cNvPr>
          <p:cNvSpPr/>
          <p:nvPr/>
        </p:nvSpPr>
        <p:spPr>
          <a:xfrm rot="20116092">
            <a:off x="4999234" y="1762821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2B65A5FB-E83A-FB43-A0FD-8BB679CB2B3B}"/>
              </a:ext>
            </a:extLst>
          </p:cNvPr>
          <p:cNvSpPr/>
          <p:nvPr/>
        </p:nvSpPr>
        <p:spPr>
          <a:xfrm rot="1827716">
            <a:off x="4996628" y="2336248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3518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019307"/>
            <a:ext cx="1678330" cy="75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510020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fish routing: giving control to the cloud tenants may lead to an </a:t>
            </a:r>
            <a:r>
              <a:rPr lang="en-US" dirty="0">
                <a:solidFill>
                  <a:srgbClr val="FF0000"/>
                </a:solidFill>
              </a:rPr>
              <a:t>unhealthy </a:t>
            </a:r>
            <a:r>
              <a:rPr lang="en-US" dirty="0"/>
              <a:t>situ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7</a:t>
            </a:fld>
            <a:endParaRPr lang="sv-SE" dirty="0"/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86DACB2-66CB-8C4F-B570-0B141A2C7B1A}"/>
              </a:ext>
            </a:extLst>
          </p:cNvPr>
          <p:cNvSpPr/>
          <p:nvPr/>
        </p:nvSpPr>
        <p:spPr>
          <a:xfrm>
            <a:off x="5670634" y="5014734"/>
            <a:ext cx="1678330" cy="251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662768-7166-C64D-BD9C-43370AA09D3D}"/>
              </a:ext>
            </a:extLst>
          </p:cNvPr>
          <p:cNvSpPr/>
          <p:nvPr/>
        </p:nvSpPr>
        <p:spPr>
          <a:xfrm>
            <a:off x="5682209" y="4760090"/>
            <a:ext cx="1678330" cy="25199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E561586-EBE4-7545-807E-2776DC5C5026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08A9764-1D85-354F-9C57-0F9BB0ECD7EC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88C2A8-093F-CE4C-8846-1B4289693624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96DAFD5-AA32-1B44-97BC-9E1299AC886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4752520" y="163125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4752520" y="2177395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4487172" y="1947849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4573226" y="1954380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6598474" y="1940032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6684528" y="1946563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5330525" y="2757816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5332684" y="1241995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3118079" y="1760460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3120144" y="2002550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3119824" y="2269746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2252389" y="166598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2247903" y="1945226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2251393" y="2224470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3AD1A40-8192-0F46-954C-FE65328EEC72}"/>
                  </a:ext>
                </a:extLst>
              </p:cNvPr>
              <p:cNvSpPr txBox="1"/>
              <p:nvPr/>
            </p:nvSpPr>
            <p:spPr>
              <a:xfrm>
                <a:off x="4668493" y="1329463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3AD1A40-8192-0F46-954C-FE65328EEC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8493" y="1329463"/>
                <a:ext cx="516153" cy="414088"/>
              </a:xfrm>
              <a:prstGeom prst="rect">
                <a:avLst/>
              </a:prstGeom>
              <a:blipFill>
                <a:blip r:embed="rId2"/>
                <a:stretch>
                  <a:fillRect l="-48780" t="-112121" r="-29268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6A39CEB-1D2E-3E48-BD07-4BC139EEC532}"/>
                  </a:ext>
                </a:extLst>
              </p:cNvPr>
              <p:cNvSpPr txBox="1"/>
              <p:nvPr/>
            </p:nvSpPr>
            <p:spPr>
              <a:xfrm>
                <a:off x="4668492" y="2616423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6A39CEB-1D2E-3E48-BD07-4BC139EEC5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68492" y="2616423"/>
                <a:ext cx="516153" cy="412485"/>
              </a:xfrm>
              <a:prstGeom prst="rect">
                <a:avLst/>
              </a:prstGeom>
              <a:blipFill>
                <a:blip r:embed="rId3"/>
                <a:stretch>
                  <a:fillRect l="-48780" t="-112121" r="-29268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Right Arrow 55">
            <a:extLst>
              <a:ext uri="{FF2B5EF4-FFF2-40B4-BE49-F238E27FC236}">
                <a16:creationId xmlns:a16="http://schemas.microsoft.com/office/drawing/2014/main" id="{7A3D1924-5CF4-B344-9BE7-3D4A6F6612A6}"/>
              </a:ext>
            </a:extLst>
          </p:cNvPr>
          <p:cNvSpPr/>
          <p:nvPr/>
        </p:nvSpPr>
        <p:spPr>
          <a:xfrm rot="20116092">
            <a:off x="4999234" y="1762821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2B65A5FB-E83A-FB43-A0FD-8BB679CB2B3B}"/>
              </a:ext>
            </a:extLst>
          </p:cNvPr>
          <p:cNvSpPr/>
          <p:nvPr/>
        </p:nvSpPr>
        <p:spPr>
          <a:xfrm rot="1827716">
            <a:off x="4996628" y="2336248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3895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dirty="0" err="1"/>
              <a:t>Engineering</a:t>
            </a:r>
            <a:r>
              <a:rPr lang="sv-SE" dirty="0"/>
              <a:t> (TE) </a:t>
            </a:r>
            <a:r>
              <a:rPr lang="sv-SE" dirty="0" err="1"/>
              <a:t>performed</a:t>
            </a:r>
            <a:r>
              <a:rPr lang="sv-SE" dirty="0"/>
              <a:t> to (re)</a:t>
            </a:r>
            <a:r>
              <a:rPr lang="sv-SE" dirty="0" err="1"/>
              <a:t>balance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in a </a:t>
            </a:r>
            <a:r>
              <a:rPr lang="sv-SE" dirty="0" err="1"/>
              <a:t>network</a:t>
            </a:r>
            <a:endParaRPr lang="sv-S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2BB83B-4A6C-E44E-BBFE-4B5ADBBC2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8</a:t>
            </a:fld>
            <a:endParaRPr lang="sv-SE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2E65DB45-FDEB-0B4E-B154-2152F0F607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8" y="1346587"/>
            <a:ext cx="7524751" cy="1824876"/>
          </a:xfrm>
        </p:spPr>
        <p:txBody>
          <a:bodyPr>
            <a:normAutofit/>
          </a:bodyPr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measure</a:t>
            </a:r>
            <a:r>
              <a:rPr lang="sv-SE" dirty="0"/>
              <a:t> the </a:t>
            </a:r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each</a:t>
            </a:r>
            <a:r>
              <a:rPr lang="sv-SE" dirty="0"/>
              <a:t> </a:t>
            </a:r>
            <a:r>
              <a:rPr lang="sv-SE" dirty="0" err="1"/>
              <a:t>flow</a:t>
            </a:r>
            <a:r>
              <a:rPr lang="sv-SE" dirty="0"/>
              <a:t> in 20-sec </a:t>
            </a:r>
            <a:r>
              <a:rPr lang="sv-SE" dirty="0" err="1"/>
              <a:t>interval</a:t>
            </a:r>
            <a:r>
              <a:rPr lang="sv-SE" dirty="0"/>
              <a:t> bi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plot</a:t>
            </a:r>
            <a:r>
              <a:rPr lang="sv-SE" dirty="0"/>
              <a:t> the 50’th, 95’th, 99’th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percentiles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bimodal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behaviour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at 50’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>
                <a:solidFill>
                  <a:srgbClr val="FFC000"/>
                </a:solidFill>
              </a:rPr>
              <a:t>12% </a:t>
            </a:r>
            <a:r>
              <a:rPr lang="sv-SE" b="1" dirty="0" err="1">
                <a:solidFill>
                  <a:srgbClr val="FFC000"/>
                </a:solidFill>
              </a:rPr>
              <a:t>difference</a:t>
            </a:r>
            <a:r>
              <a:rPr lang="sv-SE" b="1" dirty="0">
                <a:solidFill>
                  <a:srgbClr val="FFC000"/>
                </a:solidFill>
              </a:rPr>
              <a:t> for all </a:t>
            </a:r>
            <a:r>
              <a:rPr lang="sv-SE" b="1" dirty="0" err="1">
                <a:solidFill>
                  <a:srgbClr val="FFC000"/>
                </a:solidFill>
              </a:rPr>
              <a:t>percentiles</a:t>
            </a:r>
            <a:endParaRPr lang="sv-SE" b="1" dirty="0">
              <a:solidFill>
                <a:srgbClr val="FFC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114303-F5B9-D548-98F3-693D4281D7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722" y="2923244"/>
            <a:ext cx="6483030" cy="38261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2B6128A-5F4C-5C4D-A987-0C6232659C6F}"/>
              </a:ext>
            </a:extLst>
          </p:cNvPr>
          <p:cNvSpPr txBox="1"/>
          <p:nvPr/>
        </p:nvSpPr>
        <p:spPr>
          <a:xfrm rot="16200000">
            <a:off x="-446158" y="4570693"/>
            <a:ext cx="316779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TCP </a:t>
            </a:r>
            <a:r>
              <a:rPr lang="sv-SE" dirty="0" err="1">
                <a:latin typeface="Calibri" panose="020F0502020204030204" pitchFamily="34" charset="0"/>
                <a:cs typeface="Calibri" panose="020F0502020204030204" pitchFamily="34" charset="0"/>
              </a:rPr>
              <a:t>connections</a:t>
            </a:r>
            <a:endParaRPr lang="sv-S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41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the theory behind TE-based routing reconfigurations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9</a:t>
            </a:fld>
            <a:endParaRPr lang="sv-SE" dirty="0"/>
          </a:p>
        </p:txBody>
      </p:sp>
      <p:sp>
        <p:nvSpPr>
          <p:cNvPr id="42" name="Content Placeholder 1">
            <a:extLst>
              <a:ext uri="{FF2B5EF4-FFF2-40B4-BE49-F238E27FC236}">
                <a16:creationId xmlns:a16="http://schemas.microsoft.com/office/drawing/2014/main" id="{E0C3ADA0-6D77-9149-B1AF-E254AF57A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9" y="1346587"/>
            <a:ext cx="6344134" cy="1824876"/>
          </a:xfrm>
        </p:spPr>
        <p:txBody>
          <a:bodyPr>
            <a:normAutofit/>
          </a:bodyPr>
          <a:lstStyle/>
          <a:p>
            <a:r>
              <a:rPr lang="sv-SE" dirty="0"/>
              <a:t>A </a:t>
            </a:r>
            <a:r>
              <a:rPr lang="sv-SE" dirty="0" err="1"/>
              <a:t>rich</a:t>
            </a:r>
            <a:r>
              <a:rPr lang="sv-SE" dirty="0"/>
              <a:t> </a:t>
            </a:r>
            <a:r>
              <a:rPr lang="sv-SE" dirty="0" err="1"/>
              <a:t>body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literature</a:t>
            </a:r>
            <a:r>
              <a:rPr lang="sv-SE" dirty="0"/>
              <a:t> on </a:t>
            </a:r>
            <a:r>
              <a:rPr lang="sv-SE" dirty="0" err="1"/>
              <a:t>how</a:t>
            </a:r>
            <a:r>
              <a:rPr lang="sv-SE" dirty="0"/>
              <a:t> to </a:t>
            </a:r>
            <a:r>
              <a:rPr lang="sv-SE" dirty="0" err="1"/>
              <a:t>achieve</a:t>
            </a:r>
            <a:r>
              <a:rPr lang="sv-SE" dirty="0"/>
              <a:t> optimal </a:t>
            </a:r>
            <a:r>
              <a:rPr lang="sv-SE" dirty="0" err="1"/>
              <a:t>performance</a:t>
            </a:r>
            <a:r>
              <a:rPr lang="sv-SE" dirty="0"/>
              <a:t> </a:t>
            </a:r>
            <a:r>
              <a:rPr lang="sv-SE" dirty="0" err="1"/>
              <a:t>while</a:t>
            </a:r>
            <a:r>
              <a:rPr lang="sv-SE" dirty="0"/>
              <a:t> </a:t>
            </a:r>
            <a:r>
              <a:rPr lang="sv-SE" dirty="0" err="1"/>
              <a:t>minimizing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dirty="0" err="1"/>
              <a:t>rerouting</a:t>
            </a:r>
            <a:endParaRPr lang="sv-SE" dirty="0"/>
          </a:p>
          <a:p>
            <a:endParaRPr lang="sv-SE" b="1" dirty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Static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routing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is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renown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to be as far as </a:t>
            </a:r>
          </a:p>
        </p:txBody>
      </p:sp>
    </p:spTree>
    <p:extLst>
      <p:ext uri="{BB962C8B-B14F-4D97-AF65-F5344CB8AC3E}">
        <p14:creationId xmlns:p14="http://schemas.microsoft.com/office/powerpoint/2010/main" val="33390521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002BFB9-52DD-6044-BD6F-5498D00A0D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" b="-1287"/>
          <a:stretch/>
        </p:blipFill>
        <p:spPr>
          <a:xfrm>
            <a:off x="16664" y="1950395"/>
            <a:ext cx="9144000" cy="37960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>
                <a:solidFill>
                  <a:schemeClr val="accent3"/>
                </a:solidFill>
              </a:rPr>
              <a:t>Stable</a:t>
            </a:r>
            <a:r>
              <a:rPr lang="sv-SE" dirty="0"/>
              <a:t> Round </a:t>
            </a:r>
            <a:r>
              <a:rPr lang="sv-SE" dirty="0" err="1"/>
              <a:t>Trip</a:t>
            </a:r>
            <a:r>
              <a:rPr lang="sv-SE" dirty="0"/>
              <a:t> </a:t>
            </a:r>
            <a:r>
              <a:rPr lang="sv-SE" dirty="0" err="1"/>
              <a:t>Time</a:t>
            </a:r>
            <a:r>
              <a:rPr lang="sv-SE" dirty="0"/>
              <a:t>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roughly</a:t>
            </a:r>
            <a:r>
              <a:rPr lang="sv-SE" dirty="0"/>
              <a:t> 80m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E484DF-54E8-964F-846A-67A0282321D5}"/>
              </a:ext>
            </a:extLst>
          </p:cNvPr>
          <p:cNvSpPr txBox="1"/>
          <p:nvPr/>
        </p:nvSpPr>
        <p:spPr>
          <a:xfrm>
            <a:off x="921986" y="1769444"/>
            <a:ext cx="15318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dirty="0"/>
              <a:t>Source </a:t>
            </a:r>
            <a:r>
              <a:rPr lang="sv-SE" sz="2000" dirty="0"/>
              <a:t>port</a:t>
            </a:r>
            <a:r>
              <a:rPr lang="sv-SE" dirty="0"/>
              <a:t>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D9BF16-1551-F04D-BF97-1C9D1052F6CB}"/>
              </a:ext>
            </a:extLst>
          </p:cNvPr>
          <p:cNvSpPr/>
          <p:nvPr/>
        </p:nvSpPr>
        <p:spPr>
          <a:xfrm>
            <a:off x="1184745" y="2251620"/>
            <a:ext cx="7617348" cy="15888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789ECF-7EFA-3748-BB39-FB19CDBFDDD0}"/>
              </a:ext>
            </a:extLst>
          </p:cNvPr>
          <p:cNvSpPr/>
          <p:nvPr/>
        </p:nvSpPr>
        <p:spPr>
          <a:xfrm>
            <a:off x="2406344" y="2944094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493E23-96D1-904D-A82D-900183257390}"/>
              </a:ext>
            </a:extLst>
          </p:cNvPr>
          <p:cNvSpPr/>
          <p:nvPr/>
        </p:nvSpPr>
        <p:spPr>
          <a:xfrm>
            <a:off x="3338785" y="2927761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0EBC75-D384-8644-912A-4052796CEEE1}"/>
              </a:ext>
            </a:extLst>
          </p:cNvPr>
          <p:cNvSpPr/>
          <p:nvPr/>
        </p:nvSpPr>
        <p:spPr>
          <a:xfrm>
            <a:off x="4572000" y="2919810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6E6BB8-18DB-3A4B-B141-0F3E3B680F3C}"/>
              </a:ext>
            </a:extLst>
          </p:cNvPr>
          <p:cNvSpPr/>
          <p:nvPr/>
        </p:nvSpPr>
        <p:spPr>
          <a:xfrm>
            <a:off x="5925650" y="2919810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82385-A539-4640-B52E-F00FAAAF061A}"/>
              </a:ext>
            </a:extLst>
          </p:cNvPr>
          <p:cNvSpPr/>
          <p:nvPr/>
        </p:nvSpPr>
        <p:spPr>
          <a:xfrm>
            <a:off x="6236403" y="2924627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09EE25D-50E4-3A45-B115-AC8AFC42832D}"/>
              </a:ext>
            </a:extLst>
          </p:cNvPr>
          <p:cNvSpPr/>
          <p:nvPr/>
        </p:nvSpPr>
        <p:spPr>
          <a:xfrm>
            <a:off x="6547156" y="2903908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E26BD1-C930-D646-BABA-997718039314}"/>
              </a:ext>
            </a:extLst>
          </p:cNvPr>
          <p:cNvSpPr/>
          <p:nvPr/>
        </p:nvSpPr>
        <p:spPr>
          <a:xfrm>
            <a:off x="6673101" y="2919810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CAE6BE3-9739-544E-9215-1113A257B5CE}"/>
              </a:ext>
            </a:extLst>
          </p:cNvPr>
          <p:cNvSpPr/>
          <p:nvPr/>
        </p:nvSpPr>
        <p:spPr>
          <a:xfrm>
            <a:off x="7975157" y="2927761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A3F4527-A0AC-0444-910C-0D014CB220B2}"/>
              </a:ext>
            </a:extLst>
          </p:cNvPr>
          <p:cNvSpPr/>
          <p:nvPr/>
        </p:nvSpPr>
        <p:spPr>
          <a:xfrm>
            <a:off x="1184745" y="3912902"/>
            <a:ext cx="6949439" cy="7068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8EFF94-07F4-C340-881C-2731F812490B}"/>
              </a:ext>
            </a:extLst>
          </p:cNvPr>
          <p:cNvSpPr/>
          <p:nvPr/>
        </p:nvSpPr>
        <p:spPr>
          <a:xfrm>
            <a:off x="7873999" y="3995701"/>
            <a:ext cx="523239" cy="624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647ABA-2EAF-BA47-8D7E-69DCD7F72CE5}"/>
              </a:ext>
            </a:extLst>
          </p:cNvPr>
          <p:cNvSpPr/>
          <p:nvPr/>
        </p:nvSpPr>
        <p:spPr>
          <a:xfrm>
            <a:off x="8151197" y="3309986"/>
            <a:ext cx="650896" cy="624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F8B3B0-7833-EC4A-9E2D-11E3725E8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A7D0BC-1493-AE4D-A182-4FBBDC15A82B}"/>
              </a:ext>
            </a:extLst>
          </p:cNvPr>
          <p:cNvSpPr/>
          <p:nvPr/>
        </p:nvSpPr>
        <p:spPr>
          <a:xfrm>
            <a:off x="2406344" y="1638783"/>
            <a:ext cx="5222523" cy="519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209A54-96E9-5546-B022-121038CAC69A}"/>
              </a:ext>
            </a:extLst>
          </p:cNvPr>
          <p:cNvCxnSpPr/>
          <p:nvPr/>
        </p:nvCxnSpPr>
        <p:spPr>
          <a:xfrm>
            <a:off x="2458517" y="1963095"/>
            <a:ext cx="729183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A69DCF1-25E9-3046-83B3-9191BF06E157}"/>
              </a:ext>
            </a:extLst>
          </p:cNvPr>
          <p:cNvSpPr txBox="1"/>
          <p:nvPr/>
        </p:nvSpPr>
        <p:spPr>
          <a:xfrm>
            <a:off x="3287917" y="17539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5327</a:t>
            </a:r>
          </a:p>
        </p:txBody>
      </p:sp>
    </p:spTree>
    <p:extLst>
      <p:ext uri="{BB962C8B-B14F-4D97-AF65-F5344CB8AC3E}">
        <p14:creationId xmlns:p14="http://schemas.microsoft.com/office/powerpoint/2010/main" val="40273749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</a:t>
            </a:r>
            <a:r>
              <a:rPr lang="sv-SE" dirty="0"/>
              <a:t> </a:t>
            </a:r>
            <a:r>
              <a:rPr lang="sv-SE" dirty="0" err="1"/>
              <a:t>interarrival</a:t>
            </a:r>
            <a:r>
              <a:rPr lang="sv-SE" dirty="0"/>
              <a:t> </a:t>
            </a:r>
            <a:r>
              <a:rPr lang="sv-SE" dirty="0" err="1"/>
              <a:t>time</a:t>
            </a:r>
            <a:endParaRPr lang="sv-S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7E8E88-473C-0C48-8F6E-C45FAE9481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9209"/>
            <a:ext cx="9144000" cy="477366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B00703-32B7-3B49-A3F1-4B1846C7E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37176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persistence</a:t>
            </a:r>
            <a:r>
              <a:rPr lang="sv-SE" dirty="0"/>
              <a:t> – forward </a:t>
            </a:r>
            <a:r>
              <a:rPr lang="sv-SE" dirty="0" err="1"/>
              <a:t>path</a:t>
            </a:r>
            <a:endParaRPr lang="sv-S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B9E12B-DD15-9B4C-853A-22F05ADE4D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5427"/>
            <a:ext cx="9144000" cy="523770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DA9821-7919-1641-B3DE-96F084D52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688621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persistence</a:t>
            </a:r>
            <a:r>
              <a:rPr lang="sv-SE" dirty="0"/>
              <a:t> –</a:t>
            </a:r>
            <a:r>
              <a:rPr lang="sv-SE" dirty="0" err="1"/>
              <a:t>reverse</a:t>
            </a:r>
            <a:r>
              <a:rPr lang="sv-SE" dirty="0"/>
              <a:t> </a:t>
            </a:r>
            <a:r>
              <a:rPr lang="sv-SE" dirty="0" err="1"/>
              <a:t>path</a:t>
            </a:r>
            <a:endParaRPr lang="sv-SE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D5A09BE-CC6B-4F48-AA4A-08F049A545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3208"/>
            <a:ext cx="9144000" cy="546206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FA2D47-3F9B-D44E-83E5-C3F595FF5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5263366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dirty="0" err="1"/>
              <a:t>Engineering</a:t>
            </a:r>
            <a:r>
              <a:rPr lang="sv-SE" dirty="0"/>
              <a:t> (TE) </a:t>
            </a:r>
            <a:r>
              <a:rPr lang="sv-SE" dirty="0" err="1"/>
              <a:t>performed</a:t>
            </a:r>
            <a:r>
              <a:rPr lang="sv-SE" dirty="0"/>
              <a:t> to (re)</a:t>
            </a:r>
            <a:r>
              <a:rPr lang="sv-SE" dirty="0" err="1"/>
              <a:t>balance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in a </a:t>
            </a:r>
            <a:r>
              <a:rPr lang="sv-SE" dirty="0" err="1"/>
              <a:t>network</a:t>
            </a:r>
            <a:endParaRPr lang="sv-SE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7C4E821-3B8A-6942-9ECB-78BA182369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61334"/>
            <a:ext cx="9144000" cy="539666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12A04C6-304A-B447-B416-DAF752E74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336529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dirty="0" err="1"/>
              <a:t>Engineering</a:t>
            </a:r>
            <a:r>
              <a:rPr lang="sv-SE" dirty="0"/>
              <a:t> (TE) </a:t>
            </a:r>
            <a:r>
              <a:rPr lang="sv-SE" dirty="0" err="1"/>
              <a:t>performed</a:t>
            </a:r>
            <a:r>
              <a:rPr lang="sv-SE" dirty="0"/>
              <a:t> to (re)</a:t>
            </a:r>
            <a:r>
              <a:rPr lang="sv-SE" dirty="0" err="1"/>
              <a:t>balance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in a </a:t>
            </a:r>
            <a:r>
              <a:rPr lang="sv-SE" dirty="0" err="1"/>
              <a:t>network</a:t>
            </a:r>
            <a:endParaRPr lang="sv-SE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2EF35CD-016A-E44A-B063-69F372F98E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3208"/>
            <a:ext cx="9144000" cy="543506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64E344-7C06-9248-A7EE-330E68219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079510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dirty="0" err="1"/>
              <a:t>Engineering</a:t>
            </a:r>
            <a:r>
              <a:rPr lang="sv-SE" dirty="0"/>
              <a:t> (TE) </a:t>
            </a:r>
            <a:r>
              <a:rPr lang="sv-SE" dirty="0" err="1"/>
              <a:t>performed</a:t>
            </a:r>
            <a:r>
              <a:rPr lang="sv-SE" dirty="0"/>
              <a:t> to (re)</a:t>
            </a:r>
            <a:r>
              <a:rPr lang="sv-SE" dirty="0" err="1"/>
              <a:t>balance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in a </a:t>
            </a:r>
            <a:r>
              <a:rPr lang="sv-SE" dirty="0" err="1"/>
              <a:t>network</a:t>
            </a:r>
            <a:endParaRPr lang="sv-SE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F289241-43AB-8042-A26B-BCC181DD74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33599"/>
            <a:ext cx="9144000" cy="539604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C666915-3A22-AE4F-8231-B4DA94E78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8099231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dirty="0" err="1"/>
              <a:t>Engineering</a:t>
            </a:r>
            <a:r>
              <a:rPr lang="sv-SE" dirty="0"/>
              <a:t> (TE) </a:t>
            </a:r>
            <a:r>
              <a:rPr lang="sv-SE" dirty="0" err="1"/>
              <a:t>performed</a:t>
            </a:r>
            <a:r>
              <a:rPr lang="sv-SE" dirty="0"/>
              <a:t> to (re)</a:t>
            </a:r>
            <a:r>
              <a:rPr lang="sv-SE" dirty="0" err="1"/>
              <a:t>balance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in a </a:t>
            </a:r>
            <a:r>
              <a:rPr lang="sv-SE" dirty="0" err="1"/>
              <a:t>network</a:t>
            </a:r>
            <a:endParaRPr lang="sv-SE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EB0F132-2A72-024A-9327-40EB3661DB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3208"/>
            <a:ext cx="9144000" cy="544378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E6A1E2-F36B-214A-83C5-6ED39879F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41667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 un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 uni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 uni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“tragedy of the commons” in the cloud er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7</a:t>
            </a:fld>
            <a:endParaRPr lang="sv-SE" dirty="0"/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86DACB2-66CB-8C4F-B570-0B141A2C7B1A}"/>
              </a:ext>
            </a:extLst>
          </p:cNvPr>
          <p:cNvSpPr/>
          <p:nvPr/>
        </p:nvSpPr>
        <p:spPr>
          <a:xfrm>
            <a:off x="5670634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 uni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705FBEB-59D7-8C4C-9B48-C59E30AF5BA3}"/>
              </a:ext>
            </a:extLst>
          </p:cNvPr>
          <p:cNvSpPr/>
          <p:nvPr/>
        </p:nvSpPr>
        <p:spPr>
          <a:xfrm>
            <a:off x="5682209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 uni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662768-7166-C64D-BD9C-43370AA09D3D}"/>
              </a:ext>
            </a:extLst>
          </p:cNvPr>
          <p:cNvSpPr/>
          <p:nvPr/>
        </p:nvSpPr>
        <p:spPr>
          <a:xfrm>
            <a:off x="5682209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 unit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E561586-EBE4-7545-807E-2776DC5C5026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08A9764-1D85-354F-9C57-0F9BB0ECD7EC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88C2A8-093F-CE4C-8846-1B4289693624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96DAFD5-AA32-1B44-97BC-9E1299AC886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3738626" y="1663849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3738626" y="220998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3473278" y="1980441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3559332" y="1986972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5584580" y="1972624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5670634" y="1979155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4316631" y="2790408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4318790" y="1274587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2104185" y="1793052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2106250" y="2035142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2105930" y="2302338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1238495" y="1698574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1234009" y="1977818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1237499" y="225706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3AD1A40-8192-0F46-954C-FE65328EEC72}"/>
                  </a:ext>
                </a:extLst>
              </p:cNvPr>
              <p:cNvSpPr txBox="1"/>
              <p:nvPr/>
            </p:nvSpPr>
            <p:spPr>
              <a:xfrm>
                <a:off x="3654599" y="1362055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3AD1A40-8192-0F46-954C-FE65328EEC7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9" y="1362055"/>
                <a:ext cx="516153" cy="414088"/>
              </a:xfrm>
              <a:prstGeom prst="rect">
                <a:avLst/>
              </a:prstGeom>
              <a:blipFill>
                <a:blip r:embed="rId2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6A39CEB-1D2E-3E48-BD07-4BC139EEC532}"/>
                  </a:ext>
                </a:extLst>
              </p:cNvPr>
              <p:cNvSpPr txBox="1"/>
              <p:nvPr/>
            </p:nvSpPr>
            <p:spPr>
              <a:xfrm>
                <a:off x="3654598" y="2649015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6A39CEB-1D2E-3E48-BD07-4BC139EEC5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8" y="2649015"/>
                <a:ext cx="516153" cy="412485"/>
              </a:xfrm>
              <a:prstGeom prst="rect">
                <a:avLst/>
              </a:prstGeom>
              <a:blipFill>
                <a:blip r:embed="rId3"/>
                <a:stretch>
                  <a:fillRect l="-52500" t="-115152" r="-27500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Right Arrow 55">
            <a:extLst>
              <a:ext uri="{FF2B5EF4-FFF2-40B4-BE49-F238E27FC236}">
                <a16:creationId xmlns:a16="http://schemas.microsoft.com/office/drawing/2014/main" id="{7A3D1924-5CF4-B344-9BE7-3D4A6F6612A6}"/>
              </a:ext>
            </a:extLst>
          </p:cNvPr>
          <p:cNvSpPr/>
          <p:nvPr/>
        </p:nvSpPr>
        <p:spPr>
          <a:xfrm rot="20116092">
            <a:off x="3985340" y="1795413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7" name="Right Arrow 56">
            <a:extLst>
              <a:ext uri="{FF2B5EF4-FFF2-40B4-BE49-F238E27FC236}">
                <a16:creationId xmlns:a16="http://schemas.microsoft.com/office/drawing/2014/main" id="{2B65A5FB-E83A-FB43-A0FD-8BB679CB2B3B}"/>
              </a:ext>
            </a:extLst>
          </p:cNvPr>
          <p:cNvSpPr/>
          <p:nvPr/>
        </p:nvSpPr>
        <p:spPr>
          <a:xfrm rot="1827716">
            <a:off x="3982734" y="2368840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A44CF6A-932A-CB47-9B54-B61824566874}"/>
              </a:ext>
            </a:extLst>
          </p:cNvPr>
          <p:cNvSpPr txBox="1"/>
          <p:nvPr/>
        </p:nvSpPr>
        <p:spPr>
          <a:xfrm>
            <a:off x="2272013" y="3301675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66%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0A1EF85-F1D7-0146-9EBB-0BE9D580DE85}"/>
              </a:ext>
            </a:extLst>
          </p:cNvPr>
          <p:cNvSpPr txBox="1"/>
          <p:nvPr/>
        </p:nvSpPr>
        <p:spPr>
          <a:xfrm>
            <a:off x="5877381" y="3314613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3%</a:t>
            </a:r>
          </a:p>
        </p:txBody>
      </p:sp>
    </p:spTree>
    <p:extLst>
      <p:ext uri="{BB962C8B-B14F-4D97-AF65-F5344CB8AC3E}">
        <p14:creationId xmlns:p14="http://schemas.microsoft.com/office/powerpoint/2010/main" val="31485810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 un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 uni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 uni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“tragedy of the commons” in the cloud er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8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/>
              <p:nvPr/>
            </p:nvSpPr>
            <p:spPr>
              <a:xfrm>
                <a:off x="3654599" y="1362055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9" y="1362055"/>
                <a:ext cx="516153" cy="414088"/>
              </a:xfrm>
              <a:prstGeom prst="rect">
                <a:avLst/>
              </a:prstGeom>
              <a:blipFill>
                <a:blip r:embed="rId2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/>
              <p:nvPr/>
            </p:nvSpPr>
            <p:spPr>
              <a:xfrm>
                <a:off x="3654598" y="2649015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8" y="2649015"/>
                <a:ext cx="516153" cy="412485"/>
              </a:xfrm>
              <a:prstGeom prst="rect">
                <a:avLst/>
              </a:prstGeom>
              <a:blipFill>
                <a:blip r:embed="rId3"/>
                <a:stretch>
                  <a:fillRect l="-52500" t="-115152" r="-27500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705FBEB-59D7-8C4C-9B48-C59E30AF5BA3}"/>
              </a:ext>
            </a:extLst>
          </p:cNvPr>
          <p:cNvSpPr/>
          <p:nvPr/>
        </p:nvSpPr>
        <p:spPr>
          <a:xfrm>
            <a:off x="5682209" y="4760090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 uni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662768-7166-C64D-BD9C-43370AA09D3D}"/>
              </a:ext>
            </a:extLst>
          </p:cNvPr>
          <p:cNvSpPr/>
          <p:nvPr/>
        </p:nvSpPr>
        <p:spPr>
          <a:xfrm>
            <a:off x="5682209" y="4250803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 unit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E561586-EBE4-7545-807E-2776DC5C5026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08A9764-1D85-354F-9C57-0F9BB0ECD7EC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88C2A8-093F-CE4C-8846-1B4289693624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96DAFD5-AA32-1B44-97BC-9E1299AC886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3738626" y="1663849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3738626" y="220998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3473278" y="1980441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3559332" y="1986972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5584580" y="1972624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5670634" y="1979155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4316631" y="2790408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4318790" y="1274587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2104185" y="1781477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2106250" y="2046717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2105930" y="2313913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1238495" y="1698574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1234009" y="1977818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1237499" y="225706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p:sp>
        <p:nvSpPr>
          <p:cNvPr id="3" name="Right Arrow 2">
            <a:extLst>
              <a:ext uri="{FF2B5EF4-FFF2-40B4-BE49-F238E27FC236}">
                <a16:creationId xmlns:a16="http://schemas.microsoft.com/office/drawing/2014/main" id="{244091B3-0998-0848-8A7E-AFF825F6889B}"/>
              </a:ext>
            </a:extLst>
          </p:cNvPr>
          <p:cNvSpPr/>
          <p:nvPr/>
        </p:nvSpPr>
        <p:spPr>
          <a:xfrm rot="20116092">
            <a:off x="3985340" y="1795413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Right Arrow 41">
            <a:extLst>
              <a:ext uri="{FF2B5EF4-FFF2-40B4-BE49-F238E27FC236}">
                <a16:creationId xmlns:a16="http://schemas.microsoft.com/office/drawing/2014/main" id="{981729FA-9EBD-C148-A543-46E1F5F96292}"/>
              </a:ext>
            </a:extLst>
          </p:cNvPr>
          <p:cNvSpPr/>
          <p:nvPr/>
        </p:nvSpPr>
        <p:spPr>
          <a:xfrm rot="1827716">
            <a:off x="3982734" y="2368840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7C19366-9C7C-A24F-875B-B75E3D2B055E}"/>
              </a:ext>
            </a:extLst>
          </p:cNvPr>
          <p:cNvSpPr txBox="1"/>
          <p:nvPr/>
        </p:nvSpPr>
        <p:spPr>
          <a:xfrm>
            <a:off x="2272013" y="3301675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78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BADAE71-8F5D-FA46-B53D-32FF27816D29}"/>
              </a:ext>
            </a:extLst>
          </p:cNvPr>
          <p:cNvSpPr txBox="1"/>
          <p:nvPr/>
        </p:nvSpPr>
        <p:spPr>
          <a:xfrm>
            <a:off x="5877381" y="3314613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28%</a:t>
            </a:r>
          </a:p>
        </p:txBody>
      </p:sp>
    </p:spTree>
    <p:extLst>
      <p:ext uri="{BB962C8B-B14F-4D97-AF65-F5344CB8AC3E}">
        <p14:creationId xmlns:p14="http://schemas.microsoft.com/office/powerpoint/2010/main" val="2668122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 un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 uni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 uni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“tragedy of the commons” in the cloud era:</a:t>
            </a:r>
            <a:br>
              <a:rPr lang="en-US" dirty="0"/>
            </a:br>
            <a:r>
              <a:rPr lang="en-US" dirty="0"/>
              <a:t>a possibly </a:t>
            </a:r>
            <a:r>
              <a:rPr lang="en-US" dirty="0">
                <a:solidFill>
                  <a:srgbClr val="FF0000"/>
                </a:solidFill>
              </a:rPr>
              <a:t>unhealthy</a:t>
            </a:r>
            <a:r>
              <a:rPr lang="en-US" dirty="0"/>
              <a:t> incentive to defeat cloud 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9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/>
              <p:nvPr/>
            </p:nvSpPr>
            <p:spPr>
              <a:xfrm>
                <a:off x="3654599" y="1362055"/>
                <a:ext cx="516153" cy="414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9" y="1362055"/>
                <a:ext cx="516153" cy="414088"/>
              </a:xfrm>
              <a:prstGeom prst="rect">
                <a:avLst/>
              </a:prstGeom>
              <a:blipFill>
                <a:blip r:embed="rId2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/>
              <p:nvPr/>
            </p:nvSpPr>
            <p:spPr>
              <a:xfrm>
                <a:off x="3654598" y="2649015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8" y="2649015"/>
                <a:ext cx="516153" cy="412485"/>
              </a:xfrm>
              <a:prstGeom prst="rect">
                <a:avLst/>
              </a:prstGeom>
              <a:blipFill>
                <a:blip r:embed="rId3"/>
                <a:stretch>
                  <a:fillRect l="-52500" t="-115152" r="-27500" b="-1696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662768-7166-C64D-BD9C-43370AA09D3D}"/>
              </a:ext>
            </a:extLst>
          </p:cNvPr>
          <p:cNvSpPr/>
          <p:nvPr/>
        </p:nvSpPr>
        <p:spPr>
          <a:xfrm>
            <a:off x="5681876" y="4755237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 unit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E561586-EBE4-7545-807E-2776DC5C5026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08A9764-1D85-354F-9C57-0F9BB0ECD7EC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3388C2A8-093F-CE4C-8846-1B4289693624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96DAFD5-AA32-1B44-97BC-9E1299AC886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3738626" y="1663849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3738626" y="220998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3473278" y="1980441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3559332" y="1986972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5584580" y="1972624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5670634" y="1979155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4316631" y="2790408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4318790" y="1274587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2104185" y="1781477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2106250" y="2046717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2105930" y="2313913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1238495" y="1698574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1234009" y="1977818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1237499" y="225706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p:sp>
        <p:nvSpPr>
          <p:cNvPr id="3" name="Right Arrow 2">
            <a:extLst>
              <a:ext uri="{FF2B5EF4-FFF2-40B4-BE49-F238E27FC236}">
                <a16:creationId xmlns:a16="http://schemas.microsoft.com/office/drawing/2014/main" id="{244091B3-0998-0848-8A7E-AFF825F6889B}"/>
              </a:ext>
            </a:extLst>
          </p:cNvPr>
          <p:cNvSpPr/>
          <p:nvPr/>
        </p:nvSpPr>
        <p:spPr>
          <a:xfrm rot="20116092">
            <a:off x="3985340" y="1795413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Right Arrow 41">
            <a:extLst>
              <a:ext uri="{FF2B5EF4-FFF2-40B4-BE49-F238E27FC236}">
                <a16:creationId xmlns:a16="http://schemas.microsoft.com/office/drawing/2014/main" id="{981729FA-9EBD-C148-A543-46E1F5F96292}"/>
              </a:ext>
            </a:extLst>
          </p:cNvPr>
          <p:cNvSpPr/>
          <p:nvPr/>
        </p:nvSpPr>
        <p:spPr>
          <a:xfrm rot="1827716">
            <a:off x="3982734" y="2368840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7C19366-9C7C-A24F-875B-B75E3D2B055E}"/>
              </a:ext>
            </a:extLst>
          </p:cNvPr>
          <p:cNvSpPr txBox="1"/>
          <p:nvPr/>
        </p:nvSpPr>
        <p:spPr>
          <a:xfrm>
            <a:off x="2272013" y="3301675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88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BADAE71-8F5D-FA46-B53D-32FF27816D29}"/>
              </a:ext>
            </a:extLst>
          </p:cNvPr>
          <p:cNvSpPr txBox="1"/>
          <p:nvPr/>
        </p:nvSpPr>
        <p:spPr>
          <a:xfrm>
            <a:off x="5877381" y="3314613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2%</a:t>
            </a:r>
          </a:p>
        </p:txBody>
      </p:sp>
    </p:spTree>
    <p:extLst>
      <p:ext uri="{BB962C8B-B14F-4D97-AF65-F5344CB8AC3E}">
        <p14:creationId xmlns:p14="http://schemas.microsoft.com/office/powerpoint/2010/main" val="4222084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002BFB9-52DD-6044-BD6F-5498D00A0D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" b="-1287"/>
          <a:stretch/>
        </p:blipFill>
        <p:spPr>
          <a:xfrm>
            <a:off x="16664" y="1950395"/>
            <a:ext cx="9144000" cy="37960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open</a:t>
            </a:r>
            <a:r>
              <a:rPr lang="sv-SE" dirty="0"/>
              <a:t> a 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second</a:t>
            </a:r>
            <a:r>
              <a:rPr lang="sv-SE" dirty="0"/>
              <a:t> </a:t>
            </a:r>
            <a:r>
              <a:rPr lang="sv-SE" dirty="0" err="1"/>
              <a:t>connection</a:t>
            </a:r>
            <a:r>
              <a:rPr lang="sv-SE" dirty="0"/>
              <a:t>:</a:t>
            </a:r>
            <a:br>
              <a:rPr lang="sv-SE" dirty="0"/>
            </a:br>
            <a:r>
              <a:rPr lang="sv-SE" dirty="0" err="1"/>
              <a:t>Up</a:t>
            </a:r>
            <a:r>
              <a:rPr lang="sv-SE" dirty="0"/>
              <a:t> to 10%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better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latency</a:t>
            </a:r>
            <a:r>
              <a:rPr lang="sv-SE" dirty="0"/>
              <a:t>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E484DF-54E8-964F-846A-67A0282321D5}"/>
              </a:ext>
            </a:extLst>
          </p:cNvPr>
          <p:cNvSpPr txBox="1"/>
          <p:nvPr/>
        </p:nvSpPr>
        <p:spPr>
          <a:xfrm>
            <a:off x="921986" y="1769444"/>
            <a:ext cx="15318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dirty="0"/>
              <a:t>Source </a:t>
            </a:r>
            <a:r>
              <a:rPr lang="sv-SE" sz="2000" dirty="0"/>
              <a:t>port</a:t>
            </a:r>
            <a:r>
              <a:rPr lang="sv-SE" dirty="0"/>
              <a:t>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D9BF16-1551-F04D-BF97-1C9D1052F6CB}"/>
              </a:ext>
            </a:extLst>
          </p:cNvPr>
          <p:cNvSpPr/>
          <p:nvPr/>
        </p:nvSpPr>
        <p:spPr>
          <a:xfrm>
            <a:off x="1184745" y="2251620"/>
            <a:ext cx="7617348" cy="15888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789ECF-7EFA-3748-BB39-FB19CDBFDDD0}"/>
              </a:ext>
            </a:extLst>
          </p:cNvPr>
          <p:cNvSpPr/>
          <p:nvPr/>
        </p:nvSpPr>
        <p:spPr>
          <a:xfrm>
            <a:off x="2406344" y="2944094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493E23-96D1-904D-A82D-900183257390}"/>
              </a:ext>
            </a:extLst>
          </p:cNvPr>
          <p:cNvSpPr/>
          <p:nvPr/>
        </p:nvSpPr>
        <p:spPr>
          <a:xfrm>
            <a:off x="3338785" y="2927761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0EBC75-D384-8644-912A-4052796CEEE1}"/>
              </a:ext>
            </a:extLst>
          </p:cNvPr>
          <p:cNvSpPr/>
          <p:nvPr/>
        </p:nvSpPr>
        <p:spPr>
          <a:xfrm>
            <a:off x="4572000" y="2919810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6E6BB8-18DB-3A4B-B141-0F3E3B680F3C}"/>
              </a:ext>
            </a:extLst>
          </p:cNvPr>
          <p:cNvSpPr/>
          <p:nvPr/>
        </p:nvSpPr>
        <p:spPr>
          <a:xfrm>
            <a:off x="5925650" y="2919810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82385-A539-4640-B52E-F00FAAAF061A}"/>
              </a:ext>
            </a:extLst>
          </p:cNvPr>
          <p:cNvSpPr/>
          <p:nvPr/>
        </p:nvSpPr>
        <p:spPr>
          <a:xfrm>
            <a:off x="6236403" y="2924627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09EE25D-50E4-3A45-B115-AC8AFC42832D}"/>
              </a:ext>
            </a:extLst>
          </p:cNvPr>
          <p:cNvSpPr/>
          <p:nvPr/>
        </p:nvSpPr>
        <p:spPr>
          <a:xfrm>
            <a:off x="6547156" y="2903908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E26BD1-C930-D646-BABA-997718039314}"/>
              </a:ext>
            </a:extLst>
          </p:cNvPr>
          <p:cNvSpPr/>
          <p:nvPr/>
        </p:nvSpPr>
        <p:spPr>
          <a:xfrm>
            <a:off x="6673101" y="2919810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CAE6BE3-9739-544E-9215-1113A257B5CE}"/>
              </a:ext>
            </a:extLst>
          </p:cNvPr>
          <p:cNvSpPr/>
          <p:nvPr/>
        </p:nvSpPr>
        <p:spPr>
          <a:xfrm>
            <a:off x="7975157" y="2927761"/>
            <a:ext cx="369615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A3F4527-A0AC-0444-910C-0D014CB220B2}"/>
              </a:ext>
            </a:extLst>
          </p:cNvPr>
          <p:cNvSpPr/>
          <p:nvPr/>
        </p:nvSpPr>
        <p:spPr>
          <a:xfrm>
            <a:off x="1184745" y="3912902"/>
            <a:ext cx="5421273" cy="364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8EFF94-07F4-C340-881C-2731F812490B}"/>
              </a:ext>
            </a:extLst>
          </p:cNvPr>
          <p:cNvSpPr/>
          <p:nvPr/>
        </p:nvSpPr>
        <p:spPr>
          <a:xfrm>
            <a:off x="7873999" y="3995701"/>
            <a:ext cx="523239" cy="624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F8B3B0-7833-EC4A-9E2D-11E3725E8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D4D0AFD-32CD-0945-9400-C5C3206931BF}"/>
              </a:ext>
            </a:extLst>
          </p:cNvPr>
          <p:cNvSpPr/>
          <p:nvPr/>
        </p:nvSpPr>
        <p:spPr>
          <a:xfrm>
            <a:off x="1184745" y="4332676"/>
            <a:ext cx="2276209" cy="287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673EF7-FA3C-E94F-A95C-38BE666DCEA3}"/>
              </a:ext>
            </a:extLst>
          </p:cNvPr>
          <p:cNvSpPr/>
          <p:nvPr/>
        </p:nvSpPr>
        <p:spPr>
          <a:xfrm>
            <a:off x="3433895" y="4427220"/>
            <a:ext cx="3682800" cy="192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0812D9B-62A4-1F46-AAF0-AA9089290075}"/>
              </a:ext>
            </a:extLst>
          </p:cNvPr>
          <p:cNvSpPr/>
          <p:nvPr/>
        </p:nvSpPr>
        <p:spPr>
          <a:xfrm>
            <a:off x="6713638" y="4008090"/>
            <a:ext cx="1261519" cy="524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1D2A623-C63D-C248-9479-9002C579615F}"/>
              </a:ext>
            </a:extLst>
          </p:cNvPr>
          <p:cNvSpPr/>
          <p:nvPr/>
        </p:nvSpPr>
        <p:spPr>
          <a:xfrm>
            <a:off x="4187369" y="4021432"/>
            <a:ext cx="1151547" cy="32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21562C4-8FAA-674E-8C74-1F716D01901F}"/>
              </a:ext>
            </a:extLst>
          </p:cNvPr>
          <p:cNvSpPr/>
          <p:nvPr/>
        </p:nvSpPr>
        <p:spPr>
          <a:xfrm>
            <a:off x="5765225" y="4054443"/>
            <a:ext cx="330996" cy="317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3DA9EB-3884-C943-A5AD-AC50E10DD327}"/>
              </a:ext>
            </a:extLst>
          </p:cNvPr>
          <p:cNvSpPr/>
          <p:nvPr/>
        </p:nvSpPr>
        <p:spPr>
          <a:xfrm>
            <a:off x="6298080" y="4089367"/>
            <a:ext cx="224450" cy="260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06A3FF-2EE1-F140-9380-DFA7CF36BFB6}"/>
              </a:ext>
            </a:extLst>
          </p:cNvPr>
          <p:cNvSpPr/>
          <p:nvPr/>
        </p:nvSpPr>
        <p:spPr>
          <a:xfrm>
            <a:off x="6387917" y="3921723"/>
            <a:ext cx="369615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4053E9-8800-EF4B-A7C2-9D02F38066BF}"/>
              </a:ext>
            </a:extLst>
          </p:cNvPr>
          <p:cNvSpPr/>
          <p:nvPr/>
        </p:nvSpPr>
        <p:spPr>
          <a:xfrm>
            <a:off x="2406344" y="1638783"/>
            <a:ext cx="5222523" cy="519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FC63E4C-D79F-D041-82E6-E6A0A0735F85}"/>
              </a:ext>
            </a:extLst>
          </p:cNvPr>
          <p:cNvCxnSpPr/>
          <p:nvPr/>
        </p:nvCxnSpPr>
        <p:spPr>
          <a:xfrm>
            <a:off x="2458517" y="1963095"/>
            <a:ext cx="729183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6C345EF-6904-C045-9AAF-AD938D525A8A}"/>
              </a:ext>
            </a:extLst>
          </p:cNvPr>
          <p:cNvSpPr txBox="1"/>
          <p:nvPr/>
        </p:nvSpPr>
        <p:spPr>
          <a:xfrm>
            <a:off x="3287917" y="17539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5327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ECE8050-16BA-C443-820A-C569E78A563E}"/>
              </a:ext>
            </a:extLst>
          </p:cNvPr>
          <p:cNvCxnSpPr/>
          <p:nvPr/>
        </p:nvCxnSpPr>
        <p:spPr>
          <a:xfrm>
            <a:off x="4212432" y="1932290"/>
            <a:ext cx="729183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093D42A2-7CE3-F44C-9933-AC36E394166C}"/>
              </a:ext>
            </a:extLst>
          </p:cNvPr>
          <p:cNvSpPr txBox="1"/>
          <p:nvPr/>
        </p:nvSpPr>
        <p:spPr>
          <a:xfrm>
            <a:off x="5108073" y="1732235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8467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439DD03-7115-924F-ACF1-1617F4FA3910}"/>
              </a:ext>
            </a:extLst>
          </p:cNvPr>
          <p:cNvCxnSpPr>
            <a:cxnSpLocks/>
          </p:cNvCxnSpPr>
          <p:nvPr/>
        </p:nvCxnSpPr>
        <p:spPr>
          <a:xfrm>
            <a:off x="5397500" y="3912902"/>
            <a:ext cx="0" cy="430498"/>
          </a:xfrm>
          <a:prstGeom prst="straightConnector1">
            <a:avLst/>
          </a:prstGeom>
          <a:ln w="57150">
            <a:solidFill>
              <a:schemeClr val="tx1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DD69E53-D9B9-144C-9CE3-5D4A0F44D3CD}"/>
              </a:ext>
            </a:extLst>
          </p:cNvPr>
          <p:cNvSpPr txBox="1"/>
          <p:nvPr/>
        </p:nvSpPr>
        <p:spPr>
          <a:xfrm>
            <a:off x="5489375" y="3933993"/>
            <a:ext cx="625819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dirty="0"/>
              <a:t>~10%</a:t>
            </a:r>
          </a:p>
        </p:txBody>
      </p:sp>
    </p:spTree>
    <p:extLst>
      <p:ext uri="{BB962C8B-B14F-4D97-AF65-F5344CB8AC3E}">
        <p14:creationId xmlns:p14="http://schemas.microsoft.com/office/powerpoint/2010/main" val="19879766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6D98598B-2526-5041-840C-2E56D344805C}"/>
              </a:ext>
            </a:extLst>
          </p:cNvPr>
          <p:cNvSpPr/>
          <p:nvPr/>
        </p:nvSpPr>
        <p:spPr>
          <a:xfrm>
            <a:off x="5670634" y="4250800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 uni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78F3A4F-F8FF-EC44-98C3-0CACFBA35101}"/>
              </a:ext>
            </a:extLst>
          </p:cNvPr>
          <p:cNvSpPr/>
          <p:nvPr/>
        </p:nvSpPr>
        <p:spPr>
          <a:xfrm>
            <a:off x="5682209" y="3741514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 uni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8 un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8 uni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5 uni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“tragedy of the commons” in the cloud era:</a:t>
            </a:r>
            <a:br>
              <a:rPr lang="en-US" dirty="0"/>
            </a:br>
            <a:r>
              <a:rPr lang="en-US" dirty="0"/>
              <a:t>what if the cloud reacts by changing the 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0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/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blipFill>
                <a:blip r:embed="rId2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/>
              <p:nvPr/>
            </p:nvSpPr>
            <p:spPr>
              <a:xfrm>
                <a:off x="3654598" y="2649015"/>
                <a:ext cx="516153" cy="4190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8" y="2649015"/>
                <a:ext cx="516153" cy="419089"/>
              </a:xfrm>
              <a:prstGeom prst="rect">
                <a:avLst/>
              </a:prstGeom>
              <a:blipFill>
                <a:blip r:embed="rId3"/>
                <a:stretch>
                  <a:fillRect l="-52500" t="-111765" r="-27500" b="-1617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3738626" y="1663849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3738626" y="220998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3473278" y="1980441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3559332" y="1986972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5584580" y="1972624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5670634" y="1979155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4316631" y="2790408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4318790" y="1274587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2104185" y="1781477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2106250" y="2046717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2105930" y="2313913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1238495" y="1698574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1234009" y="1977818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1237499" y="225706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p:sp>
        <p:nvSpPr>
          <p:cNvPr id="3" name="Right Arrow 2">
            <a:extLst>
              <a:ext uri="{FF2B5EF4-FFF2-40B4-BE49-F238E27FC236}">
                <a16:creationId xmlns:a16="http://schemas.microsoft.com/office/drawing/2014/main" id="{244091B3-0998-0848-8A7E-AFF825F6889B}"/>
              </a:ext>
            </a:extLst>
          </p:cNvPr>
          <p:cNvSpPr/>
          <p:nvPr/>
        </p:nvSpPr>
        <p:spPr>
          <a:xfrm rot="20116092">
            <a:off x="3985340" y="1795413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Right Arrow 41">
            <a:extLst>
              <a:ext uri="{FF2B5EF4-FFF2-40B4-BE49-F238E27FC236}">
                <a16:creationId xmlns:a16="http://schemas.microsoft.com/office/drawing/2014/main" id="{981729FA-9EBD-C148-A543-46E1F5F96292}"/>
              </a:ext>
            </a:extLst>
          </p:cNvPr>
          <p:cNvSpPr/>
          <p:nvPr/>
        </p:nvSpPr>
        <p:spPr>
          <a:xfrm rot="1827716">
            <a:off x="3982734" y="2368840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7C19366-9C7C-A24F-875B-B75E3D2B055E}"/>
              </a:ext>
            </a:extLst>
          </p:cNvPr>
          <p:cNvSpPr txBox="1"/>
          <p:nvPr/>
        </p:nvSpPr>
        <p:spPr>
          <a:xfrm>
            <a:off x="2272013" y="3301675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88%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8D7E74-0329-4445-8CC8-137D6C71B2DD}"/>
              </a:ext>
            </a:extLst>
          </p:cNvPr>
          <p:cNvSpPr/>
          <p:nvPr/>
        </p:nvSpPr>
        <p:spPr>
          <a:xfrm>
            <a:off x="5681876" y="4755237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5 unit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80BF679-F36A-F84F-BFCA-A8E19E0A660D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BD1E612-DDBF-C049-8276-88C7DC6ADA4D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D14AFBA-EB07-E74C-ABF8-E21B9AE4B573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3D38F203-9049-684E-87B8-61E8A68A644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06875FE-8C0A-734F-9388-095D77F5E6BB}"/>
              </a:ext>
            </a:extLst>
          </p:cNvPr>
          <p:cNvSpPr txBox="1"/>
          <p:nvPr/>
        </p:nvSpPr>
        <p:spPr>
          <a:xfrm>
            <a:off x="5877381" y="3314613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2%</a:t>
            </a:r>
          </a:p>
        </p:txBody>
      </p:sp>
    </p:spTree>
    <p:extLst>
      <p:ext uri="{BB962C8B-B14F-4D97-AF65-F5344CB8AC3E}">
        <p14:creationId xmlns:p14="http://schemas.microsoft.com/office/powerpoint/2010/main" val="342227239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 un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 uni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5 uni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“tragedy of the commons” in the cloud era:</a:t>
            </a:r>
            <a:br>
              <a:rPr lang="en-US" dirty="0"/>
            </a:br>
            <a:r>
              <a:rPr lang="en-US" dirty="0"/>
              <a:t>what if the cloud reacts by changing the 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1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/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blipFill>
                <a:blip r:embed="rId2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/>
              <p:nvPr/>
            </p:nvSpPr>
            <p:spPr>
              <a:xfrm>
                <a:off x="3654598" y="2649015"/>
                <a:ext cx="516153" cy="4190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8" y="2649015"/>
                <a:ext cx="516153" cy="419089"/>
              </a:xfrm>
              <a:prstGeom prst="rect">
                <a:avLst/>
              </a:prstGeom>
              <a:blipFill>
                <a:blip r:embed="rId3"/>
                <a:stretch>
                  <a:fillRect l="-52500" t="-111765" r="-27500" b="-1617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3738626" y="1663849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3738626" y="220998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3473278" y="1980441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3559332" y="1986972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5584580" y="1972624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5670634" y="1979155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4316631" y="2790408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4318790" y="1274587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2104185" y="1781477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2106250" y="2046717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2105930" y="2313913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1238495" y="1698574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1234009" y="1977818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1237499" y="225706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p:sp>
        <p:nvSpPr>
          <p:cNvPr id="3" name="Right Arrow 2">
            <a:extLst>
              <a:ext uri="{FF2B5EF4-FFF2-40B4-BE49-F238E27FC236}">
                <a16:creationId xmlns:a16="http://schemas.microsoft.com/office/drawing/2014/main" id="{244091B3-0998-0848-8A7E-AFF825F6889B}"/>
              </a:ext>
            </a:extLst>
          </p:cNvPr>
          <p:cNvSpPr/>
          <p:nvPr/>
        </p:nvSpPr>
        <p:spPr>
          <a:xfrm rot="20116092">
            <a:off x="3985340" y="1795413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Right Arrow 41">
            <a:extLst>
              <a:ext uri="{FF2B5EF4-FFF2-40B4-BE49-F238E27FC236}">
                <a16:creationId xmlns:a16="http://schemas.microsoft.com/office/drawing/2014/main" id="{981729FA-9EBD-C148-A543-46E1F5F96292}"/>
              </a:ext>
            </a:extLst>
          </p:cNvPr>
          <p:cNvSpPr/>
          <p:nvPr/>
        </p:nvSpPr>
        <p:spPr>
          <a:xfrm rot="1827716">
            <a:off x="3982734" y="2368840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7C19366-9C7C-A24F-875B-B75E3D2B055E}"/>
              </a:ext>
            </a:extLst>
          </p:cNvPr>
          <p:cNvSpPr txBox="1"/>
          <p:nvPr/>
        </p:nvSpPr>
        <p:spPr>
          <a:xfrm>
            <a:off x="2272013" y="3301675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88%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8D7E74-0329-4445-8CC8-137D6C71B2DD}"/>
              </a:ext>
            </a:extLst>
          </p:cNvPr>
          <p:cNvSpPr/>
          <p:nvPr/>
        </p:nvSpPr>
        <p:spPr>
          <a:xfrm>
            <a:off x="5681876" y="4755237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.5 unit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80BF679-F36A-F84F-BFCA-A8E19E0A660D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BD1E612-DDBF-C049-8276-88C7DC6ADA4D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D14AFBA-EB07-E74C-ABF8-E21B9AE4B573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3D38F203-9049-684E-87B8-61E8A68A644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06875FE-8C0A-734F-9388-095D77F5E6BB}"/>
              </a:ext>
            </a:extLst>
          </p:cNvPr>
          <p:cNvSpPr txBox="1"/>
          <p:nvPr/>
        </p:nvSpPr>
        <p:spPr>
          <a:xfrm>
            <a:off x="5877381" y="3314613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2%</a:t>
            </a:r>
          </a:p>
        </p:txBody>
      </p:sp>
    </p:spTree>
    <p:extLst>
      <p:ext uri="{BB962C8B-B14F-4D97-AF65-F5344CB8AC3E}">
        <p14:creationId xmlns:p14="http://schemas.microsoft.com/office/powerpoint/2010/main" val="31222169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4E7AF9DE-618C-1749-800C-1503BC124BF6}"/>
              </a:ext>
            </a:extLst>
          </p:cNvPr>
          <p:cNvSpPr/>
          <p:nvPr/>
        </p:nvSpPr>
        <p:spPr>
          <a:xfrm>
            <a:off x="5670634" y="4250800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 uni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9ADE5D-A363-BB47-8DE4-F4477AD11F5B}"/>
              </a:ext>
            </a:extLst>
          </p:cNvPr>
          <p:cNvSpPr/>
          <p:nvPr/>
        </p:nvSpPr>
        <p:spPr>
          <a:xfrm>
            <a:off x="5682209" y="3741514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2 uni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8 un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8 uni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B4835D8-606F-7D47-9A24-8666B138017B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 uni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“tragedy of the commons” in the cloud era:</a:t>
            </a:r>
            <a:br>
              <a:rPr lang="en-US" dirty="0"/>
            </a:br>
            <a:r>
              <a:rPr lang="en-US" dirty="0"/>
              <a:t>what if the cloud reacts by changing the 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2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/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blipFill>
                <a:blip r:embed="rId2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/>
              <p:nvPr/>
            </p:nvSpPr>
            <p:spPr>
              <a:xfrm>
                <a:off x="3654598" y="2649015"/>
                <a:ext cx="516153" cy="4190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8" y="2649015"/>
                <a:ext cx="516153" cy="419089"/>
              </a:xfrm>
              <a:prstGeom prst="rect">
                <a:avLst/>
              </a:prstGeom>
              <a:blipFill>
                <a:blip r:embed="rId3"/>
                <a:stretch>
                  <a:fillRect l="-52500" t="-111765" r="-27500" b="-1617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3738626" y="1663849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3738626" y="220998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3473278" y="1980441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3559332" y="1986972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5584580" y="1972624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5670634" y="1979155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4316631" y="2790408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4318790" y="1274587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2104185" y="1781477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2106250" y="2046717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2105930" y="2313913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1238495" y="1698574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1234009" y="1977818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1237499" y="225706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p:sp>
        <p:nvSpPr>
          <p:cNvPr id="3" name="Right Arrow 2">
            <a:extLst>
              <a:ext uri="{FF2B5EF4-FFF2-40B4-BE49-F238E27FC236}">
                <a16:creationId xmlns:a16="http://schemas.microsoft.com/office/drawing/2014/main" id="{244091B3-0998-0848-8A7E-AFF825F6889B}"/>
              </a:ext>
            </a:extLst>
          </p:cNvPr>
          <p:cNvSpPr/>
          <p:nvPr/>
        </p:nvSpPr>
        <p:spPr>
          <a:xfrm rot="20116092">
            <a:off x="3985340" y="1795413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Right Arrow 41">
            <a:extLst>
              <a:ext uri="{FF2B5EF4-FFF2-40B4-BE49-F238E27FC236}">
                <a16:creationId xmlns:a16="http://schemas.microsoft.com/office/drawing/2014/main" id="{981729FA-9EBD-C148-A543-46E1F5F96292}"/>
              </a:ext>
            </a:extLst>
          </p:cNvPr>
          <p:cNvSpPr/>
          <p:nvPr/>
        </p:nvSpPr>
        <p:spPr>
          <a:xfrm rot="1827716">
            <a:off x="3982734" y="2368840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7C19366-9C7C-A24F-875B-B75E3D2B055E}"/>
              </a:ext>
            </a:extLst>
          </p:cNvPr>
          <p:cNvSpPr txBox="1"/>
          <p:nvPr/>
        </p:nvSpPr>
        <p:spPr>
          <a:xfrm>
            <a:off x="2272013" y="3301675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88%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8D7E74-0329-4445-8CC8-137D6C71B2DD}"/>
              </a:ext>
            </a:extLst>
          </p:cNvPr>
          <p:cNvSpPr/>
          <p:nvPr/>
        </p:nvSpPr>
        <p:spPr>
          <a:xfrm>
            <a:off x="5681876" y="4755237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 units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80BF679-F36A-F84F-BFCA-A8E19E0A660D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BD1E612-DDBF-C049-8276-88C7DC6ADA4D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D14AFBA-EB07-E74C-ABF8-E21B9AE4B573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3D38F203-9049-684E-87B8-61E8A68A644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06875FE-8C0A-734F-9388-095D77F5E6BB}"/>
              </a:ext>
            </a:extLst>
          </p:cNvPr>
          <p:cNvSpPr txBox="1"/>
          <p:nvPr/>
        </p:nvSpPr>
        <p:spPr>
          <a:xfrm>
            <a:off x="5877381" y="3314613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2%</a:t>
            </a:r>
          </a:p>
        </p:txBody>
      </p:sp>
    </p:spTree>
    <p:extLst>
      <p:ext uri="{BB962C8B-B14F-4D97-AF65-F5344CB8AC3E}">
        <p14:creationId xmlns:p14="http://schemas.microsoft.com/office/powerpoint/2010/main" val="10437268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06272B21-050F-DA43-85AC-3C9A09FA03E2}"/>
              </a:ext>
            </a:extLst>
          </p:cNvPr>
          <p:cNvSpPr/>
          <p:nvPr/>
        </p:nvSpPr>
        <p:spPr>
          <a:xfrm>
            <a:off x="2104185" y="3764662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0.5 uni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685EBC-7ADC-9546-BAD4-E5F8DBE39E6B}"/>
              </a:ext>
            </a:extLst>
          </p:cNvPr>
          <p:cNvSpPr/>
          <p:nvPr/>
        </p:nvSpPr>
        <p:spPr>
          <a:xfrm>
            <a:off x="2092610" y="4783235"/>
            <a:ext cx="1678330" cy="50928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 un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106F79-F599-524E-A7C7-9A0E950FF148}"/>
              </a:ext>
            </a:extLst>
          </p:cNvPr>
          <p:cNvSpPr/>
          <p:nvPr/>
        </p:nvSpPr>
        <p:spPr>
          <a:xfrm>
            <a:off x="2104185" y="4273949"/>
            <a:ext cx="1678330" cy="5092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 uni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DF8714-9C58-0945-9AF6-BB8B1A9C4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“tragedy of the commons” in the cloud era:</a:t>
            </a:r>
            <a:br>
              <a:rPr lang="en-US" dirty="0"/>
            </a:br>
            <a:r>
              <a:rPr lang="en-US" dirty="0"/>
              <a:t>what if the cloud reacts by changing the 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C1B0E-49C2-4741-A360-39B8DF163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3</a:t>
            </a:fld>
            <a:endParaRPr lang="sv-SE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/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34FE64-0AC2-E043-A7CF-15EBD417FF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9" y="1362055"/>
                <a:ext cx="516153" cy="412485"/>
              </a:xfrm>
              <a:prstGeom prst="rect">
                <a:avLst/>
              </a:prstGeom>
              <a:blipFill>
                <a:blip r:embed="rId2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/>
              <p:nvPr/>
            </p:nvSpPr>
            <p:spPr>
              <a:xfrm>
                <a:off x="3654598" y="2649015"/>
                <a:ext cx="516153" cy="4256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type m:val="skw"/>
                          <m:ctrlP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𝟓</m:t>
                          </m:r>
                        </m:num>
                        <m:den>
                          <m:r>
                            <a:rPr lang="en-US" sz="1600" b="1" i="1" smtClean="0">
                              <a:solidFill>
                                <a:schemeClr val="tx1">
                                  <a:lumMod val="50000"/>
                                  <a:lumOff val="5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22D139B-0EFD-9340-BB4D-1A1099979C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4598" y="2649015"/>
                <a:ext cx="516153" cy="425694"/>
              </a:xfrm>
              <a:prstGeom prst="rect">
                <a:avLst/>
              </a:prstGeom>
              <a:blipFill>
                <a:blip r:embed="rId3"/>
                <a:stretch>
                  <a:fillRect l="-52500" t="-108824" r="-27500" b="-1647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4CEA20B1-245C-644C-8475-FEA8777F7C8D}"/>
              </a:ext>
            </a:extLst>
          </p:cNvPr>
          <p:cNvCxnSpPr/>
          <p:nvPr/>
        </p:nvCxnSpPr>
        <p:spPr>
          <a:xfrm flipV="1">
            <a:off x="2092610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9EDBF9C-EB55-FE43-89BE-5D9AA3D84034}"/>
              </a:ext>
            </a:extLst>
          </p:cNvPr>
          <p:cNvCxnSpPr>
            <a:cxnSpLocks/>
          </p:cNvCxnSpPr>
          <p:nvPr/>
        </p:nvCxnSpPr>
        <p:spPr>
          <a:xfrm>
            <a:off x="2104185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3562B13-DB8A-8243-B859-D57A8A7937D7}"/>
              </a:ext>
            </a:extLst>
          </p:cNvPr>
          <p:cNvCxnSpPr>
            <a:cxnSpLocks/>
          </p:cNvCxnSpPr>
          <p:nvPr/>
        </p:nvCxnSpPr>
        <p:spPr>
          <a:xfrm flipV="1">
            <a:off x="3774809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730A956-CFD7-334B-8D2F-D0427D3F5B54}"/>
              </a:ext>
            </a:extLst>
          </p:cNvPr>
          <p:cNvSpPr txBox="1"/>
          <p:nvPr/>
        </p:nvSpPr>
        <p:spPr>
          <a:xfrm>
            <a:off x="1875542" y="5267416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ms - low latency path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23AC918-4ABB-FF4A-B4A7-A5A9C3F430CC}"/>
              </a:ext>
            </a:extLst>
          </p:cNvPr>
          <p:cNvSpPr/>
          <p:nvPr/>
        </p:nvSpPr>
        <p:spPr>
          <a:xfrm>
            <a:off x="3738626" y="1663849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44">
            <a:extLst>
              <a:ext uri="{FF2B5EF4-FFF2-40B4-BE49-F238E27FC236}">
                <a16:creationId xmlns:a16="http://schemas.microsoft.com/office/drawing/2014/main" id="{A108F64E-F445-444B-A35D-B0DB46C83E00}"/>
              </a:ext>
            </a:extLst>
          </p:cNvPr>
          <p:cNvSpPr/>
          <p:nvPr/>
        </p:nvSpPr>
        <p:spPr>
          <a:xfrm flipV="1">
            <a:off x="3738626" y="2209987"/>
            <a:ext cx="2095018" cy="558488"/>
          </a:xfrm>
          <a:custGeom>
            <a:avLst/>
            <a:gdLst>
              <a:gd name="connsiteX0" fmla="*/ 0 w 2095018"/>
              <a:gd name="connsiteY0" fmla="*/ 579981 h 579981"/>
              <a:gd name="connsiteX1" fmla="*/ 439838 w 2095018"/>
              <a:gd name="connsiteY1" fmla="*/ 82269 h 579981"/>
              <a:gd name="connsiteX2" fmla="*/ 1597307 w 2095018"/>
              <a:gd name="connsiteY2" fmla="*/ 47545 h 579981"/>
              <a:gd name="connsiteX3" fmla="*/ 2095018 w 2095018"/>
              <a:gd name="connsiteY3" fmla="*/ 556831 h 579981"/>
              <a:gd name="connsiteX0" fmla="*/ 0 w 2095018"/>
              <a:gd name="connsiteY0" fmla="*/ 558488 h 558488"/>
              <a:gd name="connsiteX1" fmla="*/ 439838 w 2095018"/>
              <a:gd name="connsiteY1" fmla="*/ 60776 h 558488"/>
              <a:gd name="connsiteX2" fmla="*/ 1655180 w 2095018"/>
              <a:gd name="connsiteY2" fmla="*/ 60776 h 558488"/>
              <a:gd name="connsiteX3" fmla="*/ 2095018 w 2095018"/>
              <a:gd name="connsiteY3" fmla="*/ 535338 h 55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018" h="558488">
                <a:moveTo>
                  <a:pt x="0" y="558488"/>
                </a:moveTo>
                <a:cubicBezTo>
                  <a:pt x="86810" y="354001"/>
                  <a:pt x="163975" y="143728"/>
                  <a:pt x="439838" y="60776"/>
                </a:cubicBezTo>
                <a:cubicBezTo>
                  <a:pt x="715701" y="-22176"/>
                  <a:pt x="1379317" y="-18318"/>
                  <a:pt x="1655180" y="60776"/>
                </a:cubicBezTo>
                <a:cubicBezTo>
                  <a:pt x="1931043" y="139870"/>
                  <a:pt x="1984094" y="320242"/>
                  <a:pt x="2095018" y="535338"/>
                </a:cubicBezTo>
              </a:path>
            </a:pathLst>
          </a:cu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1AAC108-2F5A-6149-B93C-17BCCB0DABF8}"/>
              </a:ext>
            </a:extLst>
          </p:cNvPr>
          <p:cNvSpPr/>
          <p:nvPr/>
        </p:nvSpPr>
        <p:spPr>
          <a:xfrm>
            <a:off x="3473278" y="1980441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8953EAF-C2F9-2045-97EA-CA846B6885F5}"/>
              </a:ext>
            </a:extLst>
          </p:cNvPr>
          <p:cNvSpPr txBox="1"/>
          <p:nvPr/>
        </p:nvSpPr>
        <p:spPr>
          <a:xfrm>
            <a:off x="3559332" y="1986972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FA9748D-1121-7642-81D3-6F1306BC8F61}"/>
              </a:ext>
            </a:extLst>
          </p:cNvPr>
          <p:cNvSpPr/>
          <p:nvPr/>
        </p:nvSpPr>
        <p:spPr>
          <a:xfrm>
            <a:off x="5584580" y="1972624"/>
            <a:ext cx="516153" cy="480238"/>
          </a:xfrm>
          <a:prstGeom prst="ellipse">
            <a:avLst/>
          </a:prstGeom>
          <a:solidFill>
            <a:schemeClr val="bg1">
              <a:lumMod val="65000"/>
            </a:schemeClr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2475" b="1" baseline="-25000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A20E09B-1628-BC45-A56B-FC7CC11ECFD0}"/>
              </a:ext>
            </a:extLst>
          </p:cNvPr>
          <p:cNvSpPr txBox="1"/>
          <p:nvPr/>
        </p:nvSpPr>
        <p:spPr>
          <a:xfrm>
            <a:off x="5670634" y="1979155"/>
            <a:ext cx="430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B9CD53-FB27-634F-BFE5-147CA5BA518F}"/>
              </a:ext>
            </a:extLst>
          </p:cNvPr>
          <p:cNvSpPr txBox="1"/>
          <p:nvPr/>
        </p:nvSpPr>
        <p:spPr>
          <a:xfrm>
            <a:off x="4316631" y="2790408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0m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46A5A20-A6A1-4A4C-8602-2FB0538D9251}"/>
              </a:ext>
            </a:extLst>
          </p:cNvPr>
          <p:cNvSpPr txBox="1"/>
          <p:nvPr/>
        </p:nvSpPr>
        <p:spPr>
          <a:xfrm>
            <a:off x="4318790" y="1274587"/>
            <a:ext cx="93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10ms</a:t>
            </a:r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AEBBC4D4-7F09-ED49-B154-5A30BD9B6758}"/>
              </a:ext>
            </a:extLst>
          </p:cNvPr>
          <p:cNvSpPr/>
          <p:nvPr/>
        </p:nvSpPr>
        <p:spPr>
          <a:xfrm>
            <a:off x="2104185" y="1781477"/>
            <a:ext cx="1252477" cy="26689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9" name="Right Arrow 48">
            <a:extLst>
              <a:ext uri="{FF2B5EF4-FFF2-40B4-BE49-F238E27FC236}">
                <a16:creationId xmlns:a16="http://schemas.microsoft.com/office/drawing/2014/main" id="{F2FD4126-5DC2-654E-8FF0-4E387C3E26F6}"/>
              </a:ext>
            </a:extLst>
          </p:cNvPr>
          <p:cNvSpPr/>
          <p:nvPr/>
        </p:nvSpPr>
        <p:spPr>
          <a:xfrm>
            <a:off x="2106250" y="2046717"/>
            <a:ext cx="1252477" cy="266894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0" name="Right Arrow 49">
            <a:extLst>
              <a:ext uri="{FF2B5EF4-FFF2-40B4-BE49-F238E27FC236}">
                <a16:creationId xmlns:a16="http://schemas.microsoft.com/office/drawing/2014/main" id="{F7D94F3E-DEF4-0E44-940E-56F4EF55EB43}"/>
              </a:ext>
            </a:extLst>
          </p:cNvPr>
          <p:cNvSpPr/>
          <p:nvPr/>
        </p:nvSpPr>
        <p:spPr>
          <a:xfrm>
            <a:off x="2105930" y="2313913"/>
            <a:ext cx="1252477" cy="26689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6BC55E3-A3AB-194B-80DB-E815591EE8C3}"/>
              </a:ext>
            </a:extLst>
          </p:cNvPr>
          <p:cNvSpPr txBox="1"/>
          <p:nvPr/>
        </p:nvSpPr>
        <p:spPr>
          <a:xfrm>
            <a:off x="1238495" y="1698574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676A6C-FFEA-7241-AECA-B80A810D6252}"/>
              </a:ext>
            </a:extLst>
          </p:cNvPr>
          <p:cNvSpPr txBox="1"/>
          <p:nvPr/>
        </p:nvSpPr>
        <p:spPr>
          <a:xfrm>
            <a:off x="1234009" y="1977818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D2B83DD-58B0-9F41-ADBF-E26C1E0FB82E}"/>
              </a:ext>
            </a:extLst>
          </p:cNvPr>
          <p:cNvSpPr txBox="1"/>
          <p:nvPr/>
        </p:nvSpPr>
        <p:spPr>
          <a:xfrm>
            <a:off x="1237499" y="2257062"/>
            <a:ext cx="84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3</a:t>
            </a:r>
          </a:p>
        </p:txBody>
      </p:sp>
      <p:sp>
        <p:nvSpPr>
          <p:cNvPr id="3" name="Right Arrow 2">
            <a:extLst>
              <a:ext uri="{FF2B5EF4-FFF2-40B4-BE49-F238E27FC236}">
                <a16:creationId xmlns:a16="http://schemas.microsoft.com/office/drawing/2014/main" id="{244091B3-0998-0848-8A7E-AFF825F6889B}"/>
              </a:ext>
            </a:extLst>
          </p:cNvPr>
          <p:cNvSpPr/>
          <p:nvPr/>
        </p:nvSpPr>
        <p:spPr>
          <a:xfrm rot="20116092">
            <a:off x="3985340" y="1795413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Right Arrow 41">
            <a:extLst>
              <a:ext uri="{FF2B5EF4-FFF2-40B4-BE49-F238E27FC236}">
                <a16:creationId xmlns:a16="http://schemas.microsoft.com/office/drawing/2014/main" id="{981729FA-9EBD-C148-A543-46E1F5F96292}"/>
              </a:ext>
            </a:extLst>
          </p:cNvPr>
          <p:cNvSpPr/>
          <p:nvPr/>
        </p:nvSpPr>
        <p:spPr>
          <a:xfrm rot="1827716">
            <a:off x="3982734" y="2368840"/>
            <a:ext cx="485177" cy="283009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7C19366-9C7C-A24F-875B-B75E3D2B055E}"/>
              </a:ext>
            </a:extLst>
          </p:cNvPr>
          <p:cNvSpPr txBox="1"/>
          <p:nvPr/>
        </p:nvSpPr>
        <p:spPr>
          <a:xfrm>
            <a:off x="2272013" y="3301675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70%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8D7E74-0329-4445-8CC8-137D6C71B2DD}"/>
              </a:ext>
            </a:extLst>
          </p:cNvPr>
          <p:cNvSpPr/>
          <p:nvPr/>
        </p:nvSpPr>
        <p:spPr>
          <a:xfrm>
            <a:off x="5681876" y="4755237"/>
            <a:ext cx="1678330" cy="5092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.5 units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D80BF679-F36A-F84F-BFCA-A8E19E0A660D}"/>
              </a:ext>
            </a:extLst>
          </p:cNvPr>
          <p:cNvCxnSpPr/>
          <p:nvPr/>
        </p:nvCxnSpPr>
        <p:spPr>
          <a:xfrm flipV="1">
            <a:off x="5670634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BBD1E612-DDBF-C049-8276-88C7DC6ADA4D}"/>
              </a:ext>
            </a:extLst>
          </p:cNvPr>
          <p:cNvCxnSpPr>
            <a:cxnSpLocks/>
          </p:cNvCxnSpPr>
          <p:nvPr/>
        </p:nvCxnSpPr>
        <p:spPr>
          <a:xfrm>
            <a:off x="5682209" y="5292521"/>
            <a:ext cx="1666755" cy="0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D14AFBA-EB07-E74C-ABF8-E21B9AE4B573}"/>
              </a:ext>
            </a:extLst>
          </p:cNvPr>
          <p:cNvCxnSpPr>
            <a:cxnSpLocks/>
          </p:cNvCxnSpPr>
          <p:nvPr/>
        </p:nvCxnSpPr>
        <p:spPr>
          <a:xfrm flipV="1">
            <a:off x="7352833" y="3301675"/>
            <a:ext cx="0" cy="1990846"/>
          </a:xfrm>
          <a:prstGeom prst="straightConnector1">
            <a:avLst/>
          </a:prstGeom>
          <a:ln w="41275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3D38F203-9049-684E-87B8-61E8A68A6448}"/>
              </a:ext>
            </a:extLst>
          </p:cNvPr>
          <p:cNvSpPr txBox="1"/>
          <p:nvPr/>
        </p:nvSpPr>
        <p:spPr>
          <a:xfrm>
            <a:off x="5491233" y="5274624"/>
            <a:ext cx="2037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100ms - high latency path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06875FE-8C0A-734F-9388-095D77F5E6BB}"/>
              </a:ext>
            </a:extLst>
          </p:cNvPr>
          <p:cNvSpPr txBox="1"/>
          <p:nvPr/>
        </p:nvSpPr>
        <p:spPr>
          <a:xfrm>
            <a:off x="5877381" y="3314613"/>
            <a:ext cx="128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30%</a:t>
            </a:r>
          </a:p>
        </p:txBody>
      </p:sp>
    </p:spTree>
    <p:extLst>
      <p:ext uri="{BB962C8B-B14F-4D97-AF65-F5344CB8AC3E}">
        <p14:creationId xmlns:p14="http://schemas.microsoft.com/office/powerpoint/2010/main" val="9077117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A46E37-DEE1-784A-A3E5-A4E43FADF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Stable</a:t>
            </a:r>
            <a:r>
              <a:rPr lang="sv-SE" dirty="0"/>
              <a:t> distribution </a:t>
            </a:r>
            <a:r>
              <a:rPr lang="sv-SE" dirty="0" err="1"/>
              <a:t>but</a:t>
            </a:r>
            <a:r>
              <a:rPr lang="sv-SE" dirty="0"/>
              <a:t>… </a:t>
            </a:r>
            <a:r>
              <a:rPr lang="sv-SE" dirty="0" err="1"/>
              <a:t>are</a:t>
            </a:r>
            <a:r>
              <a:rPr lang="sv-SE" dirty="0"/>
              <a:t> the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routed</a:t>
            </a:r>
            <a:r>
              <a:rPr lang="sv-SE" dirty="0"/>
              <a:t> </a:t>
            </a:r>
            <a:r>
              <a:rPr lang="sv-SE" dirty="0" err="1"/>
              <a:t>always</a:t>
            </a:r>
            <a:r>
              <a:rPr lang="sv-SE" dirty="0"/>
              <a:t> on the same </a:t>
            </a:r>
            <a:r>
              <a:rPr lang="sv-SE" dirty="0" err="1"/>
              <a:t>path</a:t>
            </a:r>
            <a:r>
              <a:rPr lang="sv-SE" dirty="0"/>
              <a:t>? </a:t>
            </a:r>
            <a:r>
              <a:rPr lang="sv-SE" dirty="0">
                <a:solidFill>
                  <a:srgbClr val="FF0000"/>
                </a:solidFill>
              </a:rPr>
              <a:t>Not </a:t>
            </a:r>
            <a:r>
              <a:rPr lang="sv-SE" dirty="0" err="1">
                <a:solidFill>
                  <a:srgbClr val="FF0000"/>
                </a:solidFill>
              </a:rPr>
              <a:t>necessarily</a:t>
            </a:r>
            <a:r>
              <a:rPr lang="sv-SE" dirty="0">
                <a:solidFill>
                  <a:srgbClr val="FF0000"/>
                </a:solidFill>
              </a:rPr>
              <a:t>!</a:t>
            </a:r>
            <a:endParaRPr lang="sv-SE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A39CA21-3298-8249-B96B-111652B0F4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90" y="3304572"/>
            <a:ext cx="4283810" cy="2257063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975EFE-313E-9148-8FCE-9B6C13D88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4</a:t>
            </a:fld>
            <a:endParaRPr lang="sv-S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C56526-97F8-4547-811F-0362A6C0317E}"/>
              </a:ext>
            </a:extLst>
          </p:cNvPr>
          <p:cNvSpPr txBox="1"/>
          <p:nvPr/>
        </p:nvSpPr>
        <p:spPr>
          <a:xfrm>
            <a:off x="1202174" y="5542920"/>
            <a:ext cx="25695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low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persistence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(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2C67E9-0050-B04E-BDF5-C8BB9E7A9AEC}"/>
              </a:ext>
            </a:extLst>
          </p:cNvPr>
          <p:cNvSpPr/>
          <p:nvPr/>
        </p:nvSpPr>
        <p:spPr>
          <a:xfrm>
            <a:off x="294393" y="4261958"/>
            <a:ext cx="144683" cy="3212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9243F6-9AF9-B549-9EC4-B0DCD9299043}"/>
              </a:ext>
            </a:extLst>
          </p:cNvPr>
          <p:cNvSpPr txBox="1"/>
          <p:nvPr/>
        </p:nvSpPr>
        <p:spPr>
          <a:xfrm rot="16200000">
            <a:off x="-853664" y="4131153"/>
            <a:ext cx="2324956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low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path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change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events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53CF05F2-A39D-FA4E-856A-0D1FA65575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556" y="1439185"/>
            <a:ext cx="3600450" cy="1504041"/>
          </a:xfrm>
        </p:spPr>
        <p:txBody>
          <a:bodyPr>
            <a:normAutofit/>
          </a:bodyPr>
          <a:lstStyle/>
          <a:p>
            <a:r>
              <a:rPr lang="sv-SE" sz="1600" dirty="0" err="1"/>
              <a:t>Consider</a:t>
            </a:r>
            <a:r>
              <a:rPr lang="sv-SE" sz="1600" dirty="0"/>
              <a:t> all events </a:t>
            </a:r>
            <a:r>
              <a:rPr lang="sv-SE" sz="1600" dirty="0" err="1"/>
              <a:t>when</a:t>
            </a:r>
            <a:r>
              <a:rPr lang="sv-SE" sz="1600" dirty="0"/>
              <a:t> a </a:t>
            </a:r>
            <a:r>
              <a:rPr lang="sv-SE" sz="1600" dirty="0" err="1"/>
              <a:t>flow</a:t>
            </a:r>
            <a:r>
              <a:rPr lang="sv-SE" sz="1600" dirty="0"/>
              <a:t> </a:t>
            </a:r>
            <a:r>
              <a:rPr lang="sv-SE" sz="1600" dirty="0" err="1"/>
              <a:t>changes</a:t>
            </a:r>
            <a:r>
              <a:rPr lang="sv-SE" sz="1600" dirty="0"/>
              <a:t> </a:t>
            </a:r>
            <a:r>
              <a:rPr lang="sv-SE" sz="1600" dirty="0" err="1"/>
              <a:t>path</a:t>
            </a:r>
            <a:r>
              <a:rPr lang="sv-SE" sz="16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40%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of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the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cases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, the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flow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moves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away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within</a:t>
            </a:r>
            <a:r>
              <a:rPr lang="sv-SE" sz="1600" b="1" dirty="0">
                <a:solidFill>
                  <a:schemeClr val="accent2">
                    <a:lumMod val="75000"/>
                  </a:schemeClr>
                </a:solidFill>
              </a:rPr>
              <a:t> 10 </a:t>
            </a:r>
            <a:r>
              <a:rPr lang="sv-SE" sz="1600" b="1" dirty="0" err="1">
                <a:solidFill>
                  <a:schemeClr val="accent2">
                    <a:lumMod val="75000"/>
                  </a:schemeClr>
                </a:solidFill>
              </a:rPr>
              <a:t>seconds</a:t>
            </a:r>
            <a:endParaRPr lang="sv-SE" sz="1600" b="1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sv-SE" sz="16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E6150E2-39CE-4445-BAB2-352E7674C7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5379" y="3176752"/>
            <a:ext cx="4382586" cy="2552462"/>
          </a:xfrm>
          <a:prstGeom prst="rect">
            <a:avLst/>
          </a:prstGeom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ED5AEB3-4954-6941-A47D-7AA3BABACF21}"/>
              </a:ext>
            </a:extLst>
          </p:cNvPr>
          <p:cNvCxnSpPr>
            <a:cxnSpLocks/>
          </p:cNvCxnSpPr>
          <p:nvPr/>
        </p:nvCxnSpPr>
        <p:spPr>
          <a:xfrm flipH="1">
            <a:off x="5311481" y="2268178"/>
            <a:ext cx="583432" cy="1184986"/>
          </a:xfrm>
          <a:prstGeom prst="straightConnector1">
            <a:avLst/>
          </a:prstGeom>
          <a:ln w="571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1907A96-99E6-EC42-B88B-77E342CD2EE8}"/>
              </a:ext>
            </a:extLst>
          </p:cNvPr>
          <p:cNvCxnSpPr>
            <a:cxnSpLocks/>
          </p:cNvCxnSpPr>
          <p:nvPr/>
        </p:nvCxnSpPr>
        <p:spPr>
          <a:xfrm flipH="1">
            <a:off x="5346200" y="2810775"/>
            <a:ext cx="961483" cy="2164099"/>
          </a:xfrm>
          <a:prstGeom prst="straightConnector1">
            <a:avLst/>
          </a:prstGeom>
          <a:ln w="57150">
            <a:solidFill>
              <a:srgbClr val="7030A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73F5761-A08A-FB4F-A4DC-2F83061979E1}"/>
              </a:ext>
            </a:extLst>
          </p:cNvPr>
          <p:cNvCxnSpPr/>
          <p:nvPr/>
        </p:nvCxnSpPr>
        <p:spPr>
          <a:xfrm>
            <a:off x="659757" y="4514821"/>
            <a:ext cx="857757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3CB56A9-D4C4-9B46-8C92-D906F1943F98}"/>
              </a:ext>
            </a:extLst>
          </p:cNvPr>
          <p:cNvCxnSpPr>
            <a:cxnSpLocks/>
          </p:cNvCxnSpPr>
          <p:nvPr/>
        </p:nvCxnSpPr>
        <p:spPr>
          <a:xfrm flipV="1">
            <a:off x="1517514" y="4514821"/>
            <a:ext cx="0" cy="826895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B7CBC4AA-B220-874A-A733-D8B991889778}"/>
              </a:ext>
            </a:extLst>
          </p:cNvPr>
          <p:cNvSpPr/>
          <p:nvPr/>
        </p:nvSpPr>
        <p:spPr>
          <a:xfrm>
            <a:off x="4806062" y="4365681"/>
            <a:ext cx="144683" cy="3212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B140C91-E7F8-5146-8624-7B09BB4D47D6}"/>
              </a:ext>
            </a:extLst>
          </p:cNvPr>
          <p:cNvSpPr txBox="1"/>
          <p:nvPr/>
        </p:nvSpPr>
        <p:spPr>
          <a:xfrm rot="16200000">
            <a:off x="3658005" y="4234876"/>
            <a:ext cx="2324956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Fraction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20-sec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time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interval</a:t>
            </a:r>
            <a:r>
              <a:rPr lang="sv-SE" sz="1100" dirty="0">
                <a:latin typeface="Calibri" panose="020F0502020204030204" pitchFamily="34" charset="0"/>
                <a:cs typeface="Calibri" panose="020F0502020204030204" pitchFamily="34" charset="0"/>
              </a:rPr>
              <a:t> bins 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E9EA47D9-AD4F-AA40-903F-1451FE089DDF}"/>
              </a:ext>
            </a:extLst>
          </p:cNvPr>
          <p:cNvSpPr txBox="1">
            <a:spLocks/>
          </p:cNvSpPr>
          <p:nvPr/>
        </p:nvSpPr>
        <p:spPr>
          <a:xfrm>
            <a:off x="5243618" y="1439185"/>
            <a:ext cx="3600450" cy="15040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600" dirty="0" err="1"/>
              <a:t>We</a:t>
            </a:r>
            <a:r>
              <a:rPr lang="sv-SE" sz="1600" dirty="0"/>
              <a:t> </a:t>
            </a:r>
            <a:r>
              <a:rPr lang="sv-SE" sz="1600" dirty="0" err="1"/>
              <a:t>count</a:t>
            </a:r>
            <a:r>
              <a:rPr lang="sv-SE" sz="1600" dirty="0"/>
              <a:t> #</a:t>
            </a:r>
            <a:r>
              <a:rPr lang="sv-SE" sz="1600" dirty="0" err="1"/>
              <a:t>path-changes</a:t>
            </a:r>
            <a:r>
              <a:rPr lang="sv-SE" sz="1600" dirty="0"/>
              <a:t> </a:t>
            </a:r>
            <a:r>
              <a:rPr lang="sv-SE" sz="1600" dirty="0" err="1"/>
              <a:t>each</a:t>
            </a:r>
            <a:r>
              <a:rPr lang="sv-SE" sz="1600" dirty="0"/>
              <a:t> 20 </a:t>
            </a:r>
            <a:r>
              <a:rPr lang="sv-SE" sz="1600" dirty="0" err="1"/>
              <a:t>seconds</a:t>
            </a:r>
            <a:endParaRPr lang="sv-SE" sz="1600" dirty="0"/>
          </a:p>
          <a:p>
            <a:pPr marL="342900" indent="-342900">
              <a:buFont typeface="Arial" pitchFamily="34" charset="0"/>
              <a:buChar char="•"/>
            </a:pPr>
            <a:r>
              <a:rPr lang="sv-SE" sz="1600" b="1" dirty="0">
                <a:solidFill>
                  <a:srgbClr val="FF0000"/>
                </a:solidFill>
              </a:rPr>
              <a:t>Sidney-Tokyo: </a:t>
            </a:r>
            <a:r>
              <a:rPr lang="sv-SE" sz="1600" b="1" dirty="0" err="1">
                <a:solidFill>
                  <a:srgbClr val="FF0000"/>
                </a:solidFill>
              </a:rPr>
              <a:t>during</a:t>
            </a:r>
            <a:r>
              <a:rPr lang="sv-SE" sz="1600" b="1" dirty="0">
                <a:solidFill>
                  <a:srgbClr val="FF0000"/>
                </a:solidFill>
              </a:rPr>
              <a:t> 1% </a:t>
            </a:r>
            <a:r>
              <a:rPr lang="sv-SE" sz="1600" b="1" dirty="0" err="1">
                <a:solidFill>
                  <a:srgbClr val="FF0000"/>
                </a:solidFill>
              </a:rPr>
              <a:t>of</a:t>
            </a:r>
            <a:r>
              <a:rPr lang="sv-SE" sz="1600" b="1" dirty="0">
                <a:solidFill>
                  <a:srgbClr val="FF0000"/>
                </a:solidFill>
              </a:rPr>
              <a:t> the </a:t>
            </a:r>
            <a:r>
              <a:rPr lang="sv-SE" sz="1600" b="1" dirty="0" err="1">
                <a:solidFill>
                  <a:srgbClr val="FF0000"/>
                </a:solidFill>
              </a:rPr>
              <a:t>time</a:t>
            </a:r>
            <a:r>
              <a:rPr lang="sv-SE" sz="1600" b="1" dirty="0">
                <a:solidFill>
                  <a:srgbClr val="FF0000"/>
                </a:solidFill>
              </a:rPr>
              <a:t>, </a:t>
            </a:r>
            <a:r>
              <a:rPr lang="sv-SE" sz="1600" b="1" dirty="0" err="1">
                <a:solidFill>
                  <a:srgbClr val="FF0000"/>
                </a:solidFill>
              </a:rPr>
              <a:t>we</a:t>
            </a:r>
            <a:r>
              <a:rPr lang="sv-SE" sz="1600" b="1" dirty="0">
                <a:solidFill>
                  <a:srgbClr val="FF0000"/>
                </a:solidFill>
              </a:rPr>
              <a:t> </a:t>
            </a:r>
            <a:r>
              <a:rPr lang="sv-SE" sz="1600" b="1" dirty="0" err="1">
                <a:solidFill>
                  <a:srgbClr val="FF0000"/>
                </a:solidFill>
              </a:rPr>
              <a:t>observe</a:t>
            </a:r>
            <a:r>
              <a:rPr lang="sv-SE" sz="1600" b="1" dirty="0">
                <a:solidFill>
                  <a:srgbClr val="FF0000"/>
                </a:solidFill>
              </a:rPr>
              <a:t> all the </a:t>
            </a:r>
            <a:r>
              <a:rPr lang="sv-SE" sz="1600" b="1" dirty="0" err="1">
                <a:solidFill>
                  <a:srgbClr val="FF0000"/>
                </a:solidFill>
              </a:rPr>
              <a:t>path</a:t>
            </a:r>
            <a:r>
              <a:rPr lang="sv-SE" sz="1600" b="1" dirty="0">
                <a:solidFill>
                  <a:srgbClr val="FF0000"/>
                </a:solidFill>
              </a:rPr>
              <a:t> </a:t>
            </a:r>
            <a:r>
              <a:rPr lang="sv-SE" sz="1600" b="1" dirty="0" err="1">
                <a:solidFill>
                  <a:srgbClr val="FF0000"/>
                </a:solidFill>
              </a:rPr>
              <a:t>changes</a:t>
            </a:r>
            <a:endParaRPr lang="sv-SE" sz="1600" b="1" dirty="0">
              <a:solidFill>
                <a:srgbClr val="FF0000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sv-SE" sz="1600" b="1" dirty="0">
                <a:solidFill>
                  <a:srgbClr val="7030A0"/>
                </a:solidFill>
              </a:rPr>
              <a:t>Virginia-Oregon: </a:t>
            </a:r>
            <a:r>
              <a:rPr lang="sv-SE" sz="1600" b="1" dirty="0" err="1">
                <a:solidFill>
                  <a:srgbClr val="7030A0"/>
                </a:solidFill>
              </a:rPr>
              <a:t>during</a:t>
            </a:r>
            <a:r>
              <a:rPr lang="sv-SE" sz="1600" b="1" dirty="0">
                <a:solidFill>
                  <a:srgbClr val="7030A0"/>
                </a:solidFill>
              </a:rPr>
              <a:t> 85% </a:t>
            </a:r>
            <a:r>
              <a:rPr lang="sv-SE" sz="1600" b="1" dirty="0" err="1">
                <a:solidFill>
                  <a:srgbClr val="7030A0"/>
                </a:solidFill>
              </a:rPr>
              <a:t>of</a:t>
            </a:r>
            <a:r>
              <a:rPr lang="sv-SE" sz="1600" b="1" dirty="0">
                <a:solidFill>
                  <a:srgbClr val="7030A0"/>
                </a:solidFill>
              </a:rPr>
              <a:t> the </a:t>
            </a:r>
            <a:r>
              <a:rPr lang="sv-SE" sz="1600" b="1" dirty="0" err="1">
                <a:solidFill>
                  <a:srgbClr val="7030A0"/>
                </a:solidFill>
              </a:rPr>
              <a:t>time</a:t>
            </a:r>
            <a:r>
              <a:rPr lang="sv-SE" sz="1600" b="1" dirty="0">
                <a:solidFill>
                  <a:srgbClr val="7030A0"/>
                </a:solidFill>
              </a:rPr>
              <a:t>, at </a:t>
            </a:r>
            <a:r>
              <a:rPr lang="sv-SE" sz="1600" b="1" dirty="0" err="1">
                <a:solidFill>
                  <a:srgbClr val="7030A0"/>
                </a:solidFill>
              </a:rPr>
              <a:t>least</a:t>
            </a:r>
            <a:r>
              <a:rPr lang="sv-SE" sz="1600" b="1" dirty="0">
                <a:solidFill>
                  <a:srgbClr val="7030A0"/>
                </a:solidFill>
              </a:rPr>
              <a:t> </a:t>
            </a:r>
            <a:r>
              <a:rPr lang="sv-SE" sz="1600" b="1" dirty="0" err="1">
                <a:solidFill>
                  <a:srgbClr val="7030A0"/>
                </a:solidFill>
              </a:rPr>
              <a:t>some</a:t>
            </a:r>
            <a:r>
              <a:rPr lang="sv-SE" sz="1600" b="1" dirty="0">
                <a:solidFill>
                  <a:srgbClr val="7030A0"/>
                </a:solidFill>
              </a:rPr>
              <a:t> </a:t>
            </a:r>
            <a:r>
              <a:rPr lang="sv-SE" sz="1600" b="1" dirty="0" err="1">
                <a:solidFill>
                  <a:srgbClr val="7030A0"/>
                </a:solidFill>
              </a:rPr>
              <a:t>flows</a:t>
            </a:r>
            <a:r>
              <a:rPr lang="sv-SE" sz="1600" b="1" dirty="0">
                <a:solidFill>
                  <a:srgbClr val="7030A0"/>
                </a:solidFill>
              </a:rPr>
              <a:t> </a:t>
            </a:r>
            <a:r>
              <a:rPr lang="sv-SE" sz="1600" b="1" dirty="0" err="1">
                <a:solidFill>
                  <a:srgbClr val="7030A0"/>
                </a:solidFill>
              </a:rPr>
              <a:t>change</a:t>
            </a:r>
            <a:r>
              <a:rPr lang="sv-SE" sz="1600" b="1" dirty="0">
                <a:solidFill>
                  <a:srgbClr val="7030A0"/>
                </a:solidFill>
              </a:rPr>
              <a:t> </a:t>
            </a:r>
            <a:r>
              <a:rPr lang="sv-SE" sz="1600" b="1" dirty="0" err="1">
                <a:solidFill>
                  <a:srgbClr val="7030A0"/>
                </a:solidFill>
              </a:rPr>
              <a:t>path</a:t>
            </a:r>
            <a:endParaRPr lang="sv-SE" sz="1600" b="1" dirty="0">
              <a:solidFill>
                <a:srgbClr val="7030A0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5E40877F-385E-4743-9535-CC2E728CA1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63" y="2597544"/>
            <a:ext cx="2074294" cy="21376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DE1B33F-D186-3146-9307-A81B62C5BD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139" y="2571522"/>
            <a:ext cx="1762410" cy="234988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C6208FB-5F08-F74C-A9CA-66C38DB3C2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62" y="2807444"/>
            <a:ext cx="2006431" cy="23211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2F93A23-1421-2B4A-9C5B-E63E0DA7654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3112"/>
          <a:stretch/>
        </p:blipFill>
        <p:spPr>
          <a:xfrm>
            <a:off x="2903703" y="2810752"/>
            <a:ext cx="1231158" cy="17719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C11D4A4-10BF-AE4C-94D9-50BCFBE4DD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0182" y="2806510"/>
            <a:ext cx="321764" cy="184922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60AAD9B-5A9D-874F-B907-87155CC2CAE2}"/>
              </a:ext>
            </a:extLst>
          </p:cNvPr>
          <p:cNvCxnSpPr>
            <a:cxnSpLocks/>
          </p:cNvCxnSpPr>
          <p:nvPr/>
        </p:nvCxnSpPr>
        <p:spPr>
          <a:xfrm>
            <a:off x="4171119" y="2889505"/>
            <a:ext cx="40088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2364CF8-667C-D24E-9E7A-101B1780E678}"/>
              </a:ext>
            </a:extLst>
          </p:cNvPr>
          <p:cNvCxnSpPr>
            <a:cxnSpLocks/>
          </p:cNvCxnSpPr>
          <p:nvPr/>
        </p:nvCxnSpPr>
        <p:spPr>
          <a:xfrm>
            <a:off x="1517514" y="2488557"/>
            <a:ext cx="0" cy="1985383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8162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49" y="404870"/>
            <a:ext cx="7468469" cy="668338"/>
          </a:xfrm>
        </p:spPr>
        <p:txBody>
          <a:bodyPr/>
          <a:lstStyle/>
          <a:p>
            <a:r>
              <a:rPr lang="sv-SE" dirty="0" err="1"/>
              <a:t>This</a:t>
            </a:r>
            <a:r>
              <a:rPr lang="sv-SE" dirty="0"/>
              <a:t> talk in a </a:t>
            </a:r>
            <a:r>
              <a:rPr lang="sv-SE" dirty="0" err="1"/>
              <a:t>nutshell</a:t>
            </a:r>
            <a:endParaRPr lang="sv-SE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C6D1E4-0845-5A44-9114-149AE266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5</a:t>
            </a:fld>
            <a:endParaRPr lang="sv-SE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7FEA2618-CD19-3F46-AA7E-E69266026C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48" y="1346586"/>
            <a:ext cx="7524751" cy="4608589"/>
          </a:xfrm>
        </p:spPr>
        <p:txBody>
          <a:bodyPr>
            <a:normAutofit/>
          </a:bodyPr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measured</a:t>
            </a:r>
            <a:r>
              <a:rPr lang="sv-SE" dirty="0"/>
              <a:t> the </a:t>
            </a:r>
            <a:r>
              <a:rPr lang="sv-SE" dirty="0" err="1"/>
              <a:t>largest</a:t>
            </a:r>
            <a:r>
              <a:rPr lang="sv-SE" dirty="0"/>
              <a:t> </a:t>
            </a:r>
            <a:r>
              <a:rPr lang="sv-SE" dirty="0" err="1"/>
              <a:t>worldwide</a:t>
            </a:r>
            <a:r>
              <a:rPr lang="sv-SE" dirty="0"/>
              <a:t> </a:t>
            </a:r>
            <a:r>
              <a:rPr lang="sv-SE" dirty="0" err="1"/>
              <a:t>cloud</a:t>
            </a:r>
            <a:r>
              <a:rPr lang="sv-SE" dirty="0"/>
              <a:t> </a:t>
            </a:r>
            <a:r>
              <a:rPr lang="sv-SE" dirty="0" err="1"/>
              <a:t>backbone</a:t>
            </a:r>
            <a:r>
              <a:rPr lang="sv-SE" dirty="0"/>
              <a:t> </a:t>
            </a:r>
            <a:r>
              <a:rPr lang="sv-SE" dirty="0" err="1"/>
              <a:t>network</a:t>
            </a:r>
            <a:r>
              <a:rPr lang="sv-SE" dirty="0"/>
              <a:t> (AWS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Insight</a:t>
            </a:r>
            <a:r>
              <a:rPr lang="sv-SE" b="1" dirty="0"/>
              <a:t> #1</a:t>
            </a:r>
            <a:r>
              <a:rPr lang="sv-SE" dirty="0"/>
              <a:t>: </a:t>
            </a:r>
            <a:r>
              <a:rPr lang="sv-SE" b="1" dirty="0" err="1">
                <a:solidFill>
                  <a:srgbClr val="FF0000"/>
                </a:solidFill>
              </a:rPr>
              <a:t>very</a:t>
            </a:r>
            <a:r>
              <a:rPr lang="sv-SE" b="1" dirty="0">
                <a:solidFill>
                  <a:srgbClr val="FF0000"/>
                </a:solidFill>
              </a:rPr>
              <a:t> </a:t>
            </a:r>
            <a:r>
              <a:rPr lang="sv-SE" b="1" dirty="0" err="1">
                <a:solidFill>
                  <a:srgbClr val="FF0000"/>
                </a:solidFill>
              </a:rPr>
              <a:t>reactive</a:t>
            </a:r>
            <a:r>
              <a:rPr lang="sv-SE" b="1" dirty="0">
                <a:solidFill>
                  <a:srgbClr val="FF0000"/>
                </a:solidFill>
              </a:rPr>
              <a:t> TE </a:t>
            </a:r>
            <a:r>
              <a:rPr lang="sv-SE" dirty="0" err="1"/>
              <a:t>performed</a:t>
            </a:r>
            <a:r>
              <a:rPr lang="sv-SE" dirty="0"/>
              <a:t> </a:t>
            </a:r>
            <a:r>
              <a:rPr lang="sv-SE" dirty="0" err="1"/>
              <a:t>across</a:t>
            </a:r>
            <a:r>
              <a:rPr lang="sv-SE" dirty="0"/>
              <a:t> datacen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Insight</a:t>
            </a:r>
            <a:r>
              <a:rPr lang="sv-SE" b="1" dirty="0"/>
              <a:t> #2</a:t>
            </a:r>
            <a:r>
              <a:rPr lang="sv-SE" dirty="0"/>
              <a:t>: </a:t>
            </a:r>
            <a:r>
              <a:rPr lang="sv-SE" dirty="0" err="1"/>
              <a:t>tenants</a:t>
            </a:r>
            <a:r>
              <a:rPr lang="sv-SE" dirty="0"/>
              <a:t>’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experience</a:t>
            </a:r>
            <a:r>
              <a:rPr lang="sv-SE" dirty="0"/>
              <a:t> </a:t>
            </a:r>
            <a:r>
              <a:rPr lang="sv-SE" b="1" dirty="0" err="1">
                <a:solidFill>
                  <a:srgbClr val="FF0000"/>
                </a:solidFill>
              </a:rPr>
              <a:t>unfair</a:t>
            </a:r>
            <a:r>
              <a:rPr lang="sv-SE" dirty="0"/>
              <a:t> </a:t>
            </a:r>
            <a:r>
              <a:rPr lang="sv-SE" dirty="0" err="1"/>
              <a:t>treatment</a:t>
            </a:r>
            <a:r>
              <a:rPr lang="sv-SE" dirty="0"/>
              <a:t> </a:t>
            </a:r>
          </a:p>
          <a:p>
            <a:pPr marL="698500" lvl="1" indent="-342900"/>
            <a:r>
              <a:rPr lang="sv-SE" dirty="0" err="1"/>
              <a:t>both</a:t>
            </a:r>
            <a:r>
              <a:rPr lang="sv-SE" dirty="0"/>
              <a:t> in Round </a:t>
            </a:r>
            <a:r>
              <a:rPr lang="sv-SE" dirty="0" err="1"/>
              <a:t>Trip</a:t>
            </a:r>
            <a:r>
              <a:rPr lang="sv-SE" dirty="0"/>
              <a:t> Times and </a:t>
            </a:r>
            <a:r>
              <a:rPr lang="sv-SE" dirty="0" err="1"/>
              <a:t>number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path</a:t>
            </a:r>
            <a:r>
              <a:rPr lang="sv-SE" dirty="0"/>
              <a:t> </a:t>
            </a:r>
            <a:r>
              <a:rPr lang="sv-SE" dirty="0" err="1"/>
              <a:t>changes</a:t>
            </a:r>
            <a:endParaRPr lang="sv-SE" dirty="0"/>
          </a:p>
          <a:p>
            <a:pPr marL="342900" indent="-342900"/>
            <a:endParaRPr lang="sv-SE" dirty="0"/>
          </a:p>
          <a:p>
            <a:pPr marL="342900" indent="-342900"/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Far-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reaching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implications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sv-SE" dirty="0"/>
              <a:t>on </a:t>
            </a:r>
            <a:r>
              <a:rPr lang="sv-SE" dirty="0" err="1"/>
              <a:t>how</a:t>
            </a:r>
            <a:r>
              <a:rPr lang="sv-SE" dirty="0"/>
              <a:t> </a:t>
            </a:r>
            <a:r>
              <a:rPr lang="sv-SE" dirty="0" err="1"/>
              <a:t>clouds</a:t>
            </a:r>
            <a:r>
              <a:rPr lang="sv-SE" dirty="0"/>
              <a:t> and </a:t>
            </a:r>
            <a:r>
              <a:rPr lang="sv-SE" dirty="0" err="1">
                <a:sym typeface="Wingdings" pitchFamily="2" charset="2"/>
              </a:rPr>
              <a:t>tenants</a:t>
            </a:r>
            <a:r>
              <a:rPr lang="sv-SE" dirty="0">
                <a:sym typeface="Wingdings" pitchFamily="2" charset="2"/>
              </a:rPr>
              <a:t> </a:t>
            </a:r>
            <a:r>
              <a:rPr lang="sv-SE" dirty="0" err="1">
                <a:sym typeface="Wingdings" pitchFamily="2" charset="2"/>
              </a:rPr>
              <a:t>interact</a:t>
            </a:r>
            <a:r>
              <a:rPr lang="sv-SE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congestion</a:t>
            </a:r>
            <a:r>
              <a:rPr lang="sv-SE" b="1" dirty="0"/>
              <a:t> </a:t>
            </a:r>
            <a:r>
              <a:rPr lang="sv-SE" b="1" dirty="0" err="1"/>
              <a:t>control</a:t>
            </a:r>
            <a:r>
              <a:rPr lang="sv-SE" b="1" dirty="0"/>
              <a:t>: </a:t>
            </a:r>
            <a:r>
              <a:rPr lang="sv-SE" dirty="0"/>
              <a:t>TCP </a:t>
            </a:r>
            <a:r>
              <a:rPr lang="sv-SE" dirty="0" err="1"/>
              <a:t>Cubic</a:t>
            </a:r>
            <a:r>
              <a:rPr lang="sv-SE" dirty="0"/>
              <a:t> </a:t>
            </a:r>
            <a:r>
              <a:rPr lang="sv-SE" dirty="0" err="1"/>
              <a:t>suffers</a:t>
            </a:r>
            <a:r>
              <a:rPr lang="sv-SE" dirty="0"/>
              <a:t> from packet </a:t>
            </a:r>
            <a:r>
              <a:rPr lang="sv-SE" dirty="0" err="1"/>
              <a:t>reordering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latency</a:t>
            </a:r>
            <a:r>
              <a:rPr lang="sv-SE" dirty="0"/>
              <a:t>: </a:t>
            </a:r>
            <a:r>
              <a:rPr lang="sv-SE" dirty="0" err="1"/>
              <a:t>low-latency</a:t>
            </a:r>
            <a:r>
              <a:rPr lang="sv-SE" dirty="0"/>
              <a:t> geo-</a:t>
            </a:r>
            <a:r>
              <a:rPr lang="sv-SE" dirty="0" err="1"/>
              <a:t>distributed</a:t>
            </a:r>
            <a:r>
              <a:rPr lang="sv-SE" dirty="0"/>
              <a:t> </a:t>
            </a:r>
            <a:r>
              <a:rPr lang="sv-SE" dirty="0" err="1"/>
              <a:t>emerging</a:t>
            </a:r>
            <a:r>
              <a:rPr lang="sv-SE" dirty="0"/>
              <a:t> </a:t>
            </a:r>
            <a:r>
              <a:rPr lang="sv-SE" dirty="0" err="1"/>
              <a:t>applications</a:t>
            </a:r>
            <a:r>
              <a:rPr lang="sv-SE" dirty="0"/>
              <a:t> </a:t>
            </a:r>
            <a:br>
              <a:rPr lang="sv-SE" dirty="0"/>
            </a:br>
            <a:r>
              <a:rPr lang="sv-SE" dirty="0" err="1"/>
              <a:t>require</a:t>
            </a:r>
            <a:r>
              <a:rPr lang="sv-SE" dirty="0"/>
              <a:t>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low</a:t>
            </a:r>
            <a:r>
              <a:rPr lang="sv-SE" dirty="0"/>
              <a:t> and 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deterministic</a:t>
            </a:r>
            <a:r>
              <a:rPr lang="sv-SE" dirty="0"/>
              <a:t> </a:t>
            </a:r>
            <a:r>
              <a:rPr lang="sv-SE" dirty="0" err="1"/>
              <a:t>latencies</a:t>
            </a:r>
            <a:endParaRPr lang="sv-SE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selfish-routing</a:t>
            </a:r>
            <a:r>
              <a:rPr lang="sv-SE" dirty="0"/>
              <a:t>: </a:t>
            </a:r>
            <a:r>
              <a:rPr lang="sv-SE" dirty="0" err="1"/>
              <a:t>application</a:t>
            </a:r>
            <a:r>
              <a:rPr lang="sv-SE" dirty="0"/>
              <a:t> </a:t>
            </a:r>
            <a:r>
              <a:rPr lang="sv-SE" dirty="0" err="1"/>
              <a:t>developers</a:t>
            </a:r>
            <a:r>
              <a:rPr lang="sv-SE" dirty="0"/>
              <a:t> </a:t>
            </a:r>
            <a:r>
              <a:rPr lang="sv-SE" dirty="0" err="1"/>
              <a:t>can</a:t>
            </a:r>
            <a:r>
              <a:rPr lang="sv-SE" dirty="0"/>
              <a:t> force </a:t>
            </a:r>
            <a:r>
              <a:rPr lang="sv-SE" dirty="0" err="1"/>
              <a:t>multiplexing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on </a:t>
            </a:r>
            <a:r>
              <a:rPr lang="sv-SE" dirty="0" err="1"/>
              <a:t>low-latency</a:t>
            </a:r>
            <a:r>
              <a:rPr lang="sv-SE" dirty="0"/>
              <a:t> </a:t>
            </a:r>
            <a:r>
              <a:rPr lang="sv-SE" dirty="0" err="1"/>
              <a:t>paths</a:t>
            </a:r>
            <a:r>
              <a:rPr lang="sv-SE" dirty="0"/>
              <a:t>, </a:t>
            </a:r>
            <a:r>
              <a:rPr lang="sv-SE" dirty="0" err="1"/>
              <a:t>ultimately</a:t>
            </a:r>
            <a:r>
              <a:rPr lang="sv-SE" dirty="0"/>
              <a:t> </a:t>
            </a:r>
            <a:r>
              <a:rPr lang="sv-SE" dirty="0" err="1"/>
              <a:t>hindering</a:t>
            </a:r>
            <a:r>
              <a:rPr lang="sv-SE" dirty="0"/>
              <a:t> </a:t>
            </a:r>
            <a:r>
              <a:rPr lang="sv-SE" dirty="0" err="1"/>
              <a:t>cloud</a:t>
            </a:r>
            <a:r>
              <a:rPr lang="sv-SE" dirty="0"/>
              <a:t> TE ope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2751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002BFB9-52DD-6044-BD6F-5498D00A0D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" b="-1287"/>
          <a:stretch/>
        </p:blipFill>
        <p:spPr>
          <a:xfrm>
            <a:off x="16664" y="1950395"/>
            <a:ext cx="9144000" cy="37960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open</a:t>
            </a:r>
            <a:r>
              <a:rPr lang="sv-SE" dirty="0"/>
              <a:t> a </a:t>
            </a:r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third</a:t>
            </a:r>
            <a:r>
              <a:rPr lang="sv-SE" dirty="0"/>
              <a:t> </a:t>
            </a:r>
            <a:r>
              <a:rPr lang="sv-SE" dirty="0" err="1"/>
              <a:t>connection</a:t>
            </a:r>
            <a:r>
              <a:rPr lang="sv-SE" dirty="0"/>
              <a:t>:</a:t>
            </a:r>
            <a:br>
              <a:rPr lang="sv-SE" dirty="0"/>
            </a:br>
            <a:r>
              <a:rPr lang="sv-SE" dirty="0" err="1">
                <a:solidFill>
                  <a:srgbClr val="FF0000"/>
                </a:solidFill>
              </a:rPr>
              <a:t>Unstable</a:t>
            </a:r>
            <a:r>
              <a:rPr lang="sv-SE" dirty="0"/>
              <a:t> and </a:t>
            </a:r>
            <a:r>
              <a:rPr lang="sv-SE" dirty="0" err="1">
                <a:solidFill>
                  <a:srgbClr val="FF0000"/>
                </a:solidFill>
              </a:rPr>
              <a:t>worse</a:t>
            </a:r>
            <a:r>
              <a:rPr lang="sv-SE" dirty="0">
                <a:solidFill>
                  <a:srgbClr val="FF0000"/>
                </a:solidFill>
              </a:rPr>
              <a:t> </a:t>
            </a:r>
            <a:r>
              <a:rPr lang="sv-SE" dirty="0" err="1"/>
              <a:t>latency</a:t>
            </a:r>
            <a:r>
              <a:rPr lang="sv-SE" dirty="0"/>
              <a:t>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E484DF-54E8-964F-846A-67A0282321D5}"/>
              </a:ext>
            </a:extLst>
          </p:cNvPr>
          <p:cNvSpPr txBox="1"/>
          <p:nvPr/>
        </p:nvSpPr>
        <p:spPr>
          <a:xfrm>
            <a:off x="921986" y="1769444"/>
            <a:ext cx="15318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dirty="0"/>
              <a:t>Source </a:t>
            </a:r>
            <a:r>
              <a:rPr lang="sv-SE" sz="2000" dirty="0"/>
              <a:t>port</a:t>
            </a:r>
            <a:r>
              <a:rPr lang="sv-SE" dirty="0"/>
              <a:t>: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A3F4527-A0AC-0444-910C-0D014CB220B2}"/>
              </a:ext>
            </a:extLst>
          </p:cNvPr>
          <p:cNvSpPr/>
          <p:nvPr/>
        </p:nvSpPr>
        <p:spPr>
          <a:xfrm>
            <a:off x="1184745" y="3912902"/>
            <a:ext cx="5421273" cy="364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8EFF94-07F4-C340-881C-2731F812490B}"/>
              </a:ext>
            </a:extLst>
          </p:cNvPr>
          <p:cNvSpPr/>
          <p:nvPr/>
        </p:nvSpPr>
        <p:spPr>
          <a:xfrm>
            <a:off x="7873999" y="3995701"/>
            <a:ext cx="523239" cy="624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F8B3B0-7833-EC4A-9E2D-11E3725E8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D4D0AFD-32CD-0945-9400-C5C3206931BF}"/>
              </a:ext>
            </a:extLst>
          </p:cNvPr>
          <p:cNvSpPr/>
          <p:nvPr/>
        </p:nvSpPr>
        <p:spPr>
          <a:xfrm>
            <a:off x="1184745" y="4332676"/>
            <a:ext cx="2276209" cy="287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673EF7-FA3C-E94F-A95C-38BE666DCEA3}"/>
              </a:ext>
            </a:extLst>
          </p:cNvPr>
          <p:cNvSpPr/>
          <p:nvPr/>
        </p:nvSpPr>
        <p:spPr>
          <a:xfrm>
            <a:off x="3433895" y="4427220"/>
            <a:ext cx="3682800" cy="192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0812D9B-62A4-1F46-AAF0-AA9089290075}"/>
              </a:ext>
            </a:extLst>
          </p:cNvPr>
          <p:cNvSpPr/>
          <p:nvPr/>
        </p:nvSpPr>
        <p:spPr>
          <a:xfrm>
            <a:off x="6713638" y="4008090"/>
            <a:ext cx="1261519" cy="524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1D2A623-C63D-C248-9479-9002C579615F}"/>
              </a:ext>
            </a:extLst>
          </p:cNvPr>
          <p:cNvSpPr/>
          <p:nvPr/>
        </p:nvSpPr>
        <p:spPr>
          <a:xfrm>
            <a:off x="4187369" y="4021432"/>
            <a:ext cx="1151547" cy="32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21562C4-8FAA-674E-8C74-1F716D01901F}"/>
              </a:ext>
            </a:extLst>
          </p:cNvPr>
          <p:cNvSpPr/>
          <p:nvPr/>
        </p:nvSpPr>
        <p:spPr>
          <a:xfrm>
            <a:off x="5765225" y="4054443"/>
            <a:ext cx="330996" cy="317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3DA9EB-3884-C943-A5AD-AC50E10DD327}"/>
              </a:ext>
            </a:extLst>
          </p:cNvPr>
          <p:cNvSpPr/>
          <p:nvPr/>
        </p:nvSpPr>
        <p:spPr>
          <a:xfrm>
            <a:off x="6298080" y="4089367"/>
            <a:ext cx="224450" cy="260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06A3FF-2EE1-F140-9380-DFA7CF36BFB6}"/>
              </a:ext>
            </a:extLst>
          </p:cNvPr>
          <p:cNvSpPr/>
          <p:nvPr/>
        </p:nvSpPr>
        <p:spPr>
          <a:xfrm>
            <a:off x="6387917" y="3921723"/>
            <a:ext cx="369615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0F14E9D-6E23-6740-A9AA-5F69FFFB0CE4}"/>
              </a:ext>
            </a:extLst>
          </p:cNvPr>
          <p:cNvSpPr/>
          <p:nvPr/>
        </p:nvSpPr>
        <p:spPr>
          <a:xfrm>
            <a:off x="1184745" y="2258409"/>
            <a:ext cx="2396655" cy="8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2FC82D4-35DA-DF4C-A41D-8BB0F8F29DA2}"/>
              </a:ext>
            </a:extLst>
          </p:cNvPr>
          <p:cNvSpPr/>
          <p:nvPr/>
        </p:nvSpPr>
        <p:spPr>
          <a:xfrm>
            <a:off x="6522530" y="2269591"/>
            <a:ext cx="2218862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435975C-C7B0-8748-9EF6-47411F750A80}"/>
              </a:ext>
            </a:extLst>
          </p:cNvPr>
          <p:cNvSpPr/>
          <p:nvPr/>
        </p:nvSpPr>
        <p:spPr>
          <a:xfrm>
            <a:off x="6122257" y="2256966"/>
            <a:ext cx="1198880" cy="8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9AE5EF7-6291-4C44-B651-818ECEB2611F}"/>
              </a:ext>
            </a:extLst>
          </p:cNvPr>
          <p:cNvSpPr/>
          <p:nvPr/>
        </p:nvSpPr>
        <p:spPr>
          <a:xfrm>
            <a:off x="4441297" y="2346467"/>
            <a:ext cx="295484" cy="727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71975F5-16A7-C84E-AF90-B875F3CFA4D5}"/>
              </a:ext>
            </a:extLst>
          </p:cNvPr>
          <p:cNvSpPr/>
          <p:nvPr/>
        </p:nvSpPr>
        <p:spPr>
          <a:xfrm>
            <a:off x="3216083" y="3164725"/>
            <a:ext cx="365318" cy="7100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43560A-4018-ED4C-AF68-AA9473335305}"/>
              </a:ext>
            </a:extLst>
          </p:cNvPr>
          <p:cNvSpPr/>
          <p:nvPr/>
        </p:nvSpPr>
        <p:spPr>
          <a:xfrm>
            <a:off x="2213113" y="3257365"/>
            <a:ext cx="365318" cy="599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73BABB0-F2BA-7347-A746-3CA2CE70CC26}"/>
              </a:ext>
            </a:extLst>
          </p:cNvPr>
          <p:cNvSpPr/>
          <p:nvPr/>
        </p:nvSpPr>
        <p:spPr>
          <a:xfrm>
            <a:off x="4588664" y="3257365"/>
            <a:ext cx="750252" cy="617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0E1A885-CB54-4742-A08B-E5D1C52261D2}"/>
              </a:ext>
            </a:extLst>
          </p:cNvPr>
          <p:cNvSpPr/>
          <p:nvPr/>
        </p:nvSpPr>
        <p:spPr>
          <a:xfrm>
            <a:off x="6299994" y="3243303"/>
            <a:ext cx="750252" cy="613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B8E7DFB-650A-284F-9403-B00F1AA20E32}"/>
              </a:ext>
            </a:extLst>
          </p:cNvPr>
          <p:cNvSpPr/>
          <p:nvPr/>
        </p:nvSpPr>
        <p:spPr>
          <a:xfrm>
            <a:off x="7669073" y="3234474"/>
            <a:ext cx="523239" cy="622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F0F6627-BC53-254A-A147-03D2025B15AA}"/>
              </a:ext>
            </a:extLst>
          </p:cNvPr>
          <p:cNvSpPr/>
          <p:nvPr/>
        </p:nvSpPr>
        <p:spPr>
          <a:xfrm>
            <a:off x="5822940" y="3208900"/>
            <a:ext cx="523239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CDA7495-8BDF-E840-BA28-567B2E559831}"/>
              </a:ext>
            </a:extLst>
          </p:cNvPr>
          <p:cNvSpPr/>
          <p:nvPr/>
        </p:nvSpPr>
        <p:spPr>
          <a:xfrm>
            <a:off x="2406344" y="1638783"/>
            <a:ext cx="5222523" cy="519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91E5815-8C56-AD43-9565-4B54E0F94AF3}"/>
              </a:ext>
            </a:extLst>
          </p:cNvPr>
          <p:cNvCxnSpPr/>
          <p:nvPr/>
        </p:nvCxnSpPr>
        <p:spPr>
          <a:xfrm>
            <a:off x="2458517" y="1963095"/>
            <a:ext cx="729183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A9AFCBD-4001-384C-BD3E-384A9BF00A4D}"/>
              </a:ext>
            </a:extLst>
          </p:cNvPr>
          <p:cNvSpPr txBox="1"/>
          <p:nvPr/>
        </p:nvSpPr>
        <p:spPr>
          <a:xfrm>
            <a:off x="3287917" y="17539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5327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FF74E93-5C66-1949-8897-A95AFBF573E9}"/>
              </a:ext>
            </a:extLst>
          </p:cNvPr>
          <p:cNvCxnSpPr/>
          <p:nvPr/>
        </p:nvCxnSpPr>
        <p:spPr>
          <a:xfrm>
            <a:off x="4212432" y="1932290"/>
            <a:ext cx="729183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D97E244-31CE-2445-89FB-AE18D66609A6}"/>
              </a:ext>
            </a:extLst>
          </p:cNvPr>
          <p:cNvSpPr txBox="1"/>
          <p:nvPr/>
        </p:nvSpPr>
        <p:spPr>
          <a:xfrm>
            <a:off x="5108073" y="1732235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8467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8BB486F-C0CD-1545-8B32-13861D266951}"/>
              </a:ext>
            </a:extLst>
          </p:cNvPr>
          <p:cNvCxnSpPr/>
          <p:nvPr/>
        </p:nvCxnSpPr>
        <p:spPr>
          <a:xfrm>
            <a:off x="6023325" y="1924995"/>
            <a:ext cx="72918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A2B5F51-240A-AC47-BCA4-C89E5E15F978}"/>
              </a:ext>
            </a:extLst>
          </p:cNvPr>
          <p:cNvSpPr txBox="1"/>
          <p:nvPr/>
        </p:nvSpPr>
        <p:spPr>
          <a:xfrm>
            <a:off x="6981490" y="17285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937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3B178EE-6EE6-CF41-9445-5B76C1325052}"/>
              </a:ext>
            </a:extLst>
          </p:cNvPr>
          <p:cNvSpPr/>
          <p:nvPr/>
        </p:nvSpPr>
        <p:spPr>
          <a:xfrm>
            <a:off x="4486797" y="2269980"/>
            <a:ext cx="1811283" cy="1558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803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002BFB9-52DD-6044-BD6F-5498D00A0D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" b="-1287"/>
          <a:stretch/>
        </p:blipFill>
        <p:spPr>
          <a:xfrm>
            <a:off x="16664" y="1950395"/>
            <a:ext cx="9144000" cy="37960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Insight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#1</a:t>
            </a:r>
            <a:r>
              <a:rPr lang="sv-SE" dirty="0"/>
              <a:t>: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experiences</a:t>
            </a:r>
            <a:r>
              <a:rPr lang="sv-SE" dirty="0"/>
              <a:t> </a:t>
            </a:r>
            <a:r>
              <a:rPr lang="en" dirty="0"/>
              <a:t>path changes at a </a:t>
            </a:r>
            <a:r>
              <a:rPr lang="en" dirty="0">
                <a:solidFill>
                  <a:schemeClr val="accent4">
                    <a:lumMod val="75000"/>
                  </a:schemeClr>
                </a:solidFill>
              </a:rPr>
              <a:t>second-level</a:t>
            </a:r>
            <a:r>
              <a:rPr lang="en" dirty="0"/>
              <a:t> time scales</a:t>
            </a:r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E484DF-54E8-964F-846A-67A0282321D5}"/>
              </a:ext>
            </a:extLst>
          </p:cNvPr>
          <p:cNvSpPr txBox="1"/>
          <p:nvPr/>
        </p:nvSpPr>
        <p:spPr>
          <a:xfrm>
            <a:off x="921986" y="1769444"/>
            <a:ext cx="15318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dirty="0"/>
              <a:t>Source </a:t>
            </a:r>
            <a:r>
              <a:rPr lang="sv-SE" sz="2000" dirty="0"/>
              <a:t>port</a:t>
            </a:r>
            <a:r>
              <a:rPr lang="sv-SE" dirty="0"/>
              <a:t>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F8B3B0-7833-EC4A-9E2D-11E3725E8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06A3FF-2EE1-F140-9380-DFA7CF36BFB6}"/>
              </a:ext>
            </a:extLst>
          </p:cNvPr>
          <p:cNvSpPr/>
          <p:nvPr/>
        </p:nvSpPr>
        <p:spPr>
          <a:xfrm>
            <a:off x="6387917" y="3921723"/>
            <a:ext cx="369615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CDA7495-8BDF-E840-BA28-567B2E559831}"/>
              </a:ext>
            </a:extLst>
          </p:cNvPr>
          <p:cNvSpPr/>
          <p:nvPr/>
        </p:nvSpPr>
        <p:spPr>
          <a:xfrm>
            <a:off x="2406344" y="1638783"/>
            <a:ext cx="5222523" cy="519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91E5815-8C56-AD43-9565-4B54E0F94AF3}"/>
              </a:ext>
            </a:extLst>
          </p:cNvPr>
          <p:cNvCxnSpPr/>
          <p:nvPr/>
        </p:nvCxnSpPr>
        <p:spPr>
          <a:xfrm>
            <a:off x="2458517" y="1963095"/>
            <a:ext cx="729183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A9AFCBD-4001-384C-BD3E-384A9BF00A4D}"/>
              </a:ext>
            </a:extLst>
          </p:cNvPr>
          <p:cNvSpPr txBox="1"/>
          <p:nvPr/>
        </p:nvSpPr>
        <p:spPr>
          <a:xfrm>
            <a:off x="3287917" y="17539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5327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FF74E93-5C66-1949-8897-A95AFBF573E9}"/>
              </a:ext>
            </a:extLst>
          </p:cNvPr>
          <p:cNvCxnSpPr/>
          <p:nvPr/>
        </p:nvCxnSpPr>
        <p:spPr>
          <a:xfrm>
            <a:off x="4212432" y="1932290"/>
            <a:ext cx="729183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D97E244-31CE-2445-89FB-AE18D66609A6}"/>
              </a:ext>
            </a:extLst>
          </p:cNvPr>
          <p:cNvSpPr txBox="1"/>
          <p:nvPr/>
        </p:nvSpPr>
        <p:spPr>
          <a:xfrm>
            <a:off x="5108073" y="1732235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8467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8BB486F-C0CD-1545-8B32-13861D266951}"/>
              </a:ext>
            </a:extLst>
          </p:cNvPr>
          <p:cNvCxnSpPr/>
          <p:nvPr/>
        </p:nvCxnSpPr>
        <p:spPr>
          <a:xfrm>
            <a:off x="6023325" y="1924995"/>
            <a:ext cx="72918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A2B5F51-240A-AC47-BCA4-C89E5E15F978}"/>
              </a:ext>
            </a:extLst>
          </p:cNvPr>
          <p:cNvSpPr txBox="1"/>
          <p:nvPr/>
        </p:nvSpPr>
        <p:spPr>
          <a:xfrm>
            <a:off x="6981490" y="17285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9375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D71DEB6-CB6F-A64A-9477-D9B3F386AB13}"/>
              </a:ext>
            </a:extLst>
          </p:cNvPr>
          <p:cNvCxnSpPr>
            <a:cxnSpLocks/>
          </p:cNvCxnSpPr>
          <p:nvPr/>
        </p:nvCxnSpPr>
        <p:spPr>
          <a:xfrm flipH="1">
            <a:off x="4813301" y="2755900"/>
            <a:ext cx="1210018" cy="0"/>
          </a:xfrm>
          <a:prstGeom prst="straightConnector1">
            <a:avLst/>
          </a:prstGeom>
          <a:ln w="571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F0A9E3D8-4222-5341-A64E-C23D457DDAF9}"/>
              </a:ext>
            </a:extLst>
          </p:cNvPr>
          <p:cNvSpPr txBox="1"/>
          <p:nvPr/>
        </p:nvSpPr>
        <p:spPr>
          <a:xfrm>
            <a:off x="5105400" y="2789395"/>
            <a:ext cx="625819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dirty="0"/>
              <a:t>31s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98174DB0-B9E8-7243-9BF2-A502601FD256}"/>
              </a:ext>
            </a:extLst>
          </p:cNvPr>
          <p:cNvCxnSpPr>
            <a:cxnSpLocks/>
          </p:cNvCxnSpPr>
          <p:nvPr/>
        </p:nvCxnSpPr>
        <p:spPr>
          <a:xfrm flipH="1" flipV="1">
            <a:off x="6790546" y="4022201"/>
            <a:ext cx="228981" cy="412958"/>
          </a:xfrm>
          <a:prstGeom prst="straightConnector1">
            <a:avLst/>
          </a:prstGeom>
          <a:ln w="57150">
            <a:solidFill>
              <a:schemeClr val="accent2">
                <a:lumMod val="7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46F780DD-289D-3E47-9189-5C8A98B1C132}"/>
              </a:ext>
            </a:extLst>
          </p:cNvPr>
          <p:cNvSpPr txBox="1"/>
          <p:nvPr/>
        </p:nvSpPr>
        <p:spPr>
          <a:xfrm>
            <a:off x="6912987" y="4260484"/>
            <a:ext cx="625819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dirty="0"/>
              <a:t>6s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E23243CA-4C85-1949-823F-42C167C88FB5}"/>
              </a:ext>
            </a:extLst>
          </p:cNvPr>
          <p:cNvCxnSpPr>
            <a:cxnSpLocks/>
          </p:cNvCxnSpPr>
          <p:nvPr/>
        </p:nvCxnSpPr>
        <p:spPr>
          <a:xfrm>
            <a:off x="4116502" y="3636894"/>
            <a:ext cx="247605" cy="247367"/>
          </a:xfrm>
          <a:prstGeom prst="straightConnector1">
            <a:avLst/>
          </a:prstGeom>
          <a:ln w="57150">
            <a:solidFill>
              <a:srgbClr val="FFC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05E51E5E-263D-2744-8CF0-A21912962458}"/>
              </a:ext>
            </a:extLst>
          </p:cNvPr>
          <p:cNvSpPr txBox="1"/>
          <p:nvPr/>
        </p:nvSpPr>
        <p:spPr>
          <a:xfrm>
            <a:off x="3490683" y="3361753"/>
            <a:ext cx="625819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dirty="0" err="1"/>
              <a:t>stab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35423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002BFB9-52DD-6044-BD6F-5498D00A0D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7" b="-1287"/>
          <a:stretch/>
        </p:blipFill>
        <p:spPr>
          <a:xfrm>
            <a:off x="16664" y="1950395"/>
            <a:ext cx="9144000" cy="37960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>
                <a:solidFill>
                  <a:schemeClr val="accent4">
                    <a:lumMod val="75000"/>
                  </a:schemeClr>
                </a:solidFill>
              </a:rPr>
              <a:t>Insight</a:t>
            </a:r>
            <a:r>
              <a:rPr lang="sv-SE" dirty="0">
                <a:solidFill>
                  <a:schemeClr val="accent4">
                    <a:lumMod val="75000"/>
                  </a:schemeClr>
                </a:solidFill>
              </a:rPr>
              <a:t> #2</a:t>
            </a:r>
            <a:r>
              <a:rPr lang="sv-SE" dirty="0"/>
              <a:t>: </a:t>
            </a:r>
            <a:br>
              <a:rPr lang="sv-SE" dirty="0"/>
            </a:br>
            <a:r>
              <a:rPr lang="en" dirty="0"/>
              <a:t>Flows experience </a:t>
            </a:r>
            <a:r>
              <a:rPr lang="en" dirty="0">
                <a:solidFill>
                  <a:schemeClr val="accent4">
                    <a:lumMod val="75000"/>
                  </a:schemeClr>
                </a:solidFill>
              </a:rPr>
              <a:t>unfair</a:t>
            </a:r>
            <a:r>
              <a:rPr lang="en" dirty="0"/>
              <a:t> performance</a:t>
            </a:r>
            <a:endParaRPr lang="sv-S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E484DF-54E8-964F-846A-67A0282321D5}"/>
              </a:ext>
            </a:extLst>
          </p:cNvPr>
          <p:cNvSpPr txBox="1"/>
          <p:nvPr/>
        </p:nvSpPr>
        <p:spPr>
          <a:xfrm>
            <a:off x="921986" y="1769444"/>
            <a:ext cx="15318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dirty="0"/>
              <a:t>Source </a:t>
            </a:r>
            <a:r>
              <a:rPr lang="sv-SE" sz="2000" dirty="0"/>
              <a:t>port</a:t>
            </a:r>
            <a:r>
              <a:rPr lang="sv-SE" dirty="0"/>
              <a:t>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F8B3B0-7833-EC4A-9E2D-11E3725E8C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06A3FF-2EE1-F140-9380-DFA7CF36BFB6}"/>
              </a:ext>
            </a:extLst>
          </p:cNvPr>
          <p:cNvSpPr/>
          <p:nvPr/>
        </p:nvSpPr>
        <p:spPr>
          <a:xfrm>
            <a:off x="6387917" y="3921723"/>
            <a:ext cx="369615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CDA7495-8BDF-E840-BA28-567B2E559831}"/>
              </a:ext>
            </a:extLst>
          </p:cNvPr>
          <p:cNvSpPr/>
          <p:nvPr/>
        </p:nvSpPr>
        <p:spPr>
          <a:xfrm>
            <a:off x="2406344" y="1638783"/>
            <a:ext cx="5222523" cy="519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1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91E5815-8C56-AD43-9565-4B54E0F94AF3}"/>
              </a:ext>
            </a:extLst>
          </p:cNvPr>
          <p:cNvCxnSpPr/>
          <p:nvPr/>
        </p:nvCxnSpPr>
        <p:spPr>
          <a:xfrm>
            <a:off x="2458517" y="1963095"/>
            <a:ext cx="729183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A9AFCBD-4001-384C-BD3E-384A9BF00A4D}"/>
              </a:ext>
            </a:extLst>
          </p:cNvPr>
          <p:cNvSpPr txBox="1"/>
          <p:nvPr/>
        </p:nvSpPr>
        <p:spPr>
          <a:xfrm>
            <a:off x="3287917" y="17539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5327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FF74E93-5C66-1949-8897-A95AFBF573E9}"/>
              </a:ext>
            </a:extLst>
          </p:cNvPr>
          <p:cNvCxnSpPr/>
          <p:nvPr/>
        </p:nvCxnSpPr>
        <p:spPr>
          <a:xfrm>
            <a:off x="4212432" y="1932290"/>
            <a:ext cx="729183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D97E244-31CE-2445-89FB-AE18D66609A6}"/>
              </a:ext>
            </a:extLst>
          </p:cNvPr>
          <p:cNvSpPr txBox="1"/>
          <p:nvPr/>
        </p:nvSpPr>
        <p:spPr>
          <a:xfrm>
            <a:off x="5108073" y="1732235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8467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8BB486F-C0CD-1545-8B32-13861D266951}"/>
              </a:ext>
            </a:extLst>
          </p:cNvPr>
          <p:cNvCxnSpPr/>
          <p:nvPr/>
        </p:nvCxnSpPr>
        <p:spPr>
          <a:xfrm>
            <a:off x="6023325" y="1924995"/>
            <a:ext cx="72918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A2B5F51-240A-AC47-BCA4-C89E5E15F978}"/>
              </a:ext>
            </a:extLst>
          </p:cNvPr>
          <p:cNvSpPr txBox="1"/>
          <p:nvPr/>
        </p:nvSpPr>
        <p:spPr>
          <a:xfrm>
            <a:off x="6981490" y="1728554"/>
            <a:ext cx="119888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2000" dirty="0"/>
              <a:t>9375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22FBE35-1754-8B4A-BF60-DE1887AA3B19}"/>
              </a:ext>
            </a:extLst>
          </p:cNvPr>
          <p:cNvCxnSpPr/>
          <p:nvPr/>
        </p:nvCxnSpPr>
        <p:spPr>
          <a:xfrm>
            <a:off x="5397500" y="2527300"/>
            <a:ext cx="0" cy="1816100"/>
          </a:xfrm>
          <a:prstGeom prst="straightConnector1">
            <a:avLst/>
          </a:prstGeom>
          <a:ln w="571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86BF73E-FA7F-934C-BD76-B59030C1CF36}"/>
              </a:ext>
            </a:extLst>
          </p:cNvPr>
          <p:cNvSpPr txBox="1"/>
          <p:nvPr/>
        </p:nvSpPr>
        <p:spPr>
          <a:xfrm>
            <a:off x="5397500" y="3250684"/>
            <a:ext cx="625819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sv-SE" dirty="0"/>
              <a:t>33%</a:t>
            </a:r>
          </a:p>
        </p:txBody>
      </p:sp>
    </p:spTree>
    <p:extLst>
      <p:ext uri="{BB962C8B-B14F-4D97-AF65-F5344CB8AC3E}">
        <p14:creationId xmlns:p14="http://schemas.microsoft.com/office/powerpoint/2010/main" val="9547014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49" y="404870"/>
            <a:ext cx="7468469" cy="668338"/>
          </a:xfrm>
        </p:spPr>
        <p:txBody>
          <a:bodyPr/>
          <a:lstStyle/>
          <a:p>
            <a:r>
              <a:rPr lang="sv-SE" dirty="0" err="1"/>
              <a:t>Why</a:t>
            </a:r>
            <a:r>
              <a:rPr lang="sv-SE" dirty="0"/>
              <a:t> do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see</a:t>
            </a:r>
            <a:r>
              <a:rPr lang="sv-SE" dirty="0"/>
              <a:t> so </a:t>
            </a:r>
            <a:r>
              <a:rPr lang="sv-SE" dirty="0" err="1"/>
              <a:t>many</a:t>
            </a:r>
            <a:r>
              <a:rPr lang="sv-SE" dirty="0"/>
              <a:t> different </a:t>
            </a:r>
            <a:r>
              <a:rPr lang="sv-SE" dirty="0" err="1"/>
              <a:t>latency</a:t>
            </a:r>
            <a:r>
              <a:rPr lang="sv-SE" dirty="0"/>
              <a:t> </a:t>
            </a:r>
            <a:r>
              <a:rPr lang="sv-SE" dirty="0" err="1"/>
              <a:t>behaviours</a:t>
            </a:r>
            <a:r>
              <a:rPr lang="sv-SE" dirty="0"/>
              <a:t>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F32329-3F70-EB48-96B5-DB0ADD69E0C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6" t="8216" r="7164" b="896"/>
          <a:stretch/>
        </p:blipFill>
        <p:spPr>
          <a:xfrm>
            <a:off x="144000" y="1188000"/>
            <a:ext cx="8892000" cy="496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F3E5D74-A76E-4440-B412-7E8B828F6E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3208"/>
            <a:ext cx="9144000" cy="5239657"/>
          </a:xfrm>
          <a:prstGeom prst="rect">
            <a:avLst/>
          </a:prstGeom>
        </p:spPr>
      </p:pic>
      <p:sp>
        <p:nvSpPr>
          <p:cNvPr id="8" name="Freeform 7">
            <a:extLst>
              <a:ext uri="{FF2B5EF4-FFF2-40B4-BE49-F238E27FC236}">
                <a16:creationId xmlns:a16="http://schemas.microsoft.com/office/drawing/2014/main" id="{2941178F-18E6-1E41-89C4-4DFB203A4F67}"/>
              </a:ext>
            </a:extLst>
          </p:cNvPr>
          <p:cNvSpPr/>
          <p:nvPr/>
        </p:nvSpPr>
        <p:spPr>
          <a:xfrm>
            <a:off x="373627" y="1424575"/>
            <a:ext cx="7344696" cy="2124870"/>
          </a:xfrm>
          <a:custGeom>
            <a:avLst/>
            <a:gdLst>
              <a:gd name="connsiteX0" fmla="*/ 0 w 6823587"/>
              <a:gd name="connsiteY0" fmla="*/ 679528 h 2124870"/>
              <a:gd name="connsiteX1" fmla="*/ 3185651 w 6823587"/>
              <a:gd name="connsiteY1" fmla="*/ 69928 h 2124870"/>
              <a:gd name="connsiteX2" fmla="*/ 6823587 w 6823587"/>
              <a:gd name="connsiteY2" fmla="*/ 2124870 h 2124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23587" h="2124870">
                <a:moveTo>
                  <a:pt x="0" y="679528"/>
                </a:moveTo>
                <a:cubicBezTo>
                  <a:pt x="1024193" y="254283"/>
                  <a:pt x="2048387" y="-170962"/>
                  <a:pt x="3185651" y="69928"/>
                </a:cubicBezTo>
                <a:cubicBezTo>
                  <a:pt x="4322915" y="310818"/>
                  <a:pt x="5573251" y="1217844"/>
                  <a:pt x="6823587" y="2124870"/>
                </a:cubicBezTo>
              </a:path>
            </a:pathLst>
          </a:custGeom>
          <a:ln w="44450">
            <a:solidFill>
              <a:srgbClr val="FF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2FCDCF-BDA9-F645-8830-738F6649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0802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06A478-F7B6-144E-AB80-152AF9611C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1582739"/>
            <a:ext cx="7288444" cy="4078286"/>
          </a:xfrm>
        </p:spPr>
        <p:txBody>
          <a:bodyPr/>
          <a:lstStyle/>
          <a:p>
            <a:r>
              <a:rPr lang="sv-SE" b="1" dirty="0" err="1"/>
              <a:t>Periodic</a:t>
            </a:r>
            <a:r>
              <a:rPr lang="sv-SE" b="1" dirty="0"/>
              <a:t> TE re-</a:t>
            </a:r>
            <a:r>
              <a:rPr lang="sv-SE" b="1" dirty="0" err="1"/>
              <a:t>optimization</a:t>
            </a:r>
            <a:r>
              <a:rPr lang="sv-SE" b="1" dirty="0"/>
              <a:t> </a:t>
            </a:r>
            <a:r>
              <a:rPr lang="sv-SE" dirty="0"/>
              <a:t>in </a:t>
            </a:r>
            <a:r>
              <a:rPr lang="sv-SE" dirty="0" err="1"/>
              <a:t>cloud</a:t>
            </a:r>
            <a:r>
              <a:rPr lang="sv-SE" dirty="0"/>
              <a:t> </a:t>
            </a:r>
            <a:r>
              <a:rPr lang="sv-SE" dirty="0" err="1"/>
              <a:t>networks</a:t>
            </a:r>
            <a:r>
              <a:rPr lang="sv-SE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2011: MPLS </a:t>
            </a:r>
            <a:r>
              <a:rPr lang="sv-SE" dirty="0" err="1"/>
              <a:t>autobandwidth</a:t>
            </a:r>
            <a:r>
              <a:rPr lang="sv-SE" dirty="0"/>
              <a:t> in Microsoft WAN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today</a:t>
            </a:r>
            <a:r>
              <a:rPr lang="sv-SE" dirty="0"/>
              <a:t>: (</a:t>
            </a:r>
            <a:r>
              <a:rPr lang="sv-SE" dirty="0" err="1"/>
              <a:t>claimed</a:t>
            </a:r>
            <a:r>
              <a:rPr lang="sv-SE" dirty="0"/>
              <a:t>) </a:t>
            </a:r>
            <a:r>
              <a:rPr lang="sv-SE" b="1" dirty="0">
                <a:solidFill>
                  <a:schemeClr val="accent4">
                    <a:lumMod val="75000"/>
                  </a:schemeClr>
                </a:solidFill>
              </a:rPr>
              <a:t>SDN-</a:t>
            </a:r>
            <a:r>
              <a:rPr lang="sv-SE" b="1" dirty="0" err="1">
                <a:solidFill>
                  <a:schemeClr val="accent4">
                    <a:lumMod val="75000"/>
                  </a:schemeClr>
                </a:solidFill>
              </a:rPr>
              <a:t>based</a:t>
            </a:r>
            <a:r>
              <a:rPr lang="sv-SE" dirty="0"/>
              <a:t> TE at Amazon, Google, Microsoft</a:t>
            </a:r>
            <a:br>
              <a:rPr lang="sv-SE" dirty="0"/>
            </a:br>
            <a:endParaRPr lang="sv-SE" dirty="0"/>
          </a:p>
          <a:p>
            <a:r>
              <a:rPr lang="sv-SE" dirty="0" err="1"/>
              <a:t>Two-phase</a:t>
            </a:r>
            <a:r>
              <a:rPr lang="sv-SE" dirty="0"/>
              <a:t> T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compute</a:t>
            </a:r>
            <a:r>
              <a:rPr lang="sv-SE" dirty="0"/>
              <a:t> (</a:t>
            </a:r>
            <a:r>
              <a:rPr lang="sv-SE" dirty="0" err="1"/>
              <a:t>multiple</a:t>
            </a:r>
            <a:r>
              <a:rPr lang="sv-SE" dirty="0"/>
              <a:t>) </a:t>
            </a:r>
            <a:r>
              <a:rPr lang="sv-SE" b="1" dirty="0"/>
              <a:t>tunnels</a:t>
            </a:r>
            <a:r>
              <a:rPr lang="sv-SE" dirty="0"/>
              <a:t> </a:t>
            </a:r>
            <a:r>
              <a:rPr lang="sv-SE" dirty="0" err="1"/>
              <a:t>among</a:t>
            </a:r>
            <a:r>
              <a:rPr lang="sv-SE" dirty="0"/>
              <a:t> region pai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b="1" dirty="0" err="1"/>
              <a:t>compute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b="1" dirty="0" err="1"/>
              <a:t>splitting</a:t>
            </a:r>
            <a:r>
              <a:rPr lang="sv-SE" b="1" dirty="0"/>
              <a:t> </a:t>
            </a:r>
            <a:r>
              <a:rPr lang="sv-SE" b="1" dirty="0" err="1"/>
              <a:t>ratios</a:t>
            </a:r>
            <a:r>
              <a:rPr lang="sv-SE" dirty="0"/>
              <a:t> </a:t>
            </a:r>
            <a:r>
              <a:rPr lang="sv-SE" dirty="0" err="1"/>
              <a:t>among</a:t>
            </a:r>
            <a:r>
              <a:rPr lang="sv-SE" dirty="0"/>
              <a:t> tunnels</a:t>
            </a:r>
          </a:p>
          <a:p>
            <a:pPr marL="698500" lvl="1" indent="-342900"/>
            <a:r>
              <a:rPr lang="sv-SE" dirty="0" err="1"/>
              <a:t>typically</a:t>
            </a:r>
            <a:r>
              <a:rPr lang="sv-SE" dirty="0"/>
              <a:t> </a:t>
            </a:r>
            <a:r>
              <a:rPr lang="sv-SE" dirty="0" err="1"/>
              <a:t>hash-based</a:t>
            </a:r>
            <a:r>
              <a:rPr lang="sv-SE" dirty="0"/>
              <a:t> implementation -&gt; </a:t>
            </a:r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consistency</a:t>
            </a:r>
            <a:endParaRPr lang="sv-SE" dirty="0"/>
          </a:p>
          <a:p>
            <a:pPr marL="698500" lvl="1" indent="-342900"/>
            <a:r>
              <a:rPr lang="sv-SE" dirty="0"/>
              <a:t>risk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b="1" dirty="0" err="1">
                <a:solidFill>
                  <a:srgbClr val="FF0000"/>
                </a:solidFill>
              </a:rPr>
              <a:t>reshuffling</a:t>
            </a:r>
            <a:r>
              <a:rPr lang="sv-SE" b="1" dirty="0">
                <a:solidFill>
                  <a:srgbClr val="FF0000"/>
                </a:solidFill>
              </a:rPr>
              <a:t> </a:t>
            </a:r>
            <a:r>
              <a:rPr lang="sv-SE" b="1" dirty="0" err="1">
                <a:solidFill>
                  <a:srgbClr val="FF0000"/>
                </a:solidFill>
              </a:rPr>
              <a:t>flow</a:t>
            </a:r>
            <a:r>
              <a:rPr lang="sv-SE" b="1" dirty="0">
                <a:solidFill>
                  <a:srgbClr val="FF0000"/>
                </a:solidFill>
              </a:rPr>
              <a:t> packets </a:t>
            </a:r>
            <a:r>
              <a:rPr lang="sv-SE" dirty="0" err="1"/>
              <a:t>upon</a:t>
            </a:r>
            <a:r>
              <a:rPr lang="sv-SE" dirty="0"/>
              <a:t> </a:t>
            </a:r>
            <a:r>
              <a:rPr lang="sv-SE" b="1" dirty="0" err="1"/>
              <a:t>splitting</a:t>
            </a:r>
            <a:r>
              <a:rPr lang="sv-SE" b="1" dirty="0"/>
              <a:t> </a:t>
            </a:r>
            <a:r>
              <a:rPr lang="sv-SE" b="1" dirty="0" err="1"/>
              <a:t>ratio</a:t>
            </a:r>
            <a:r>
              <a:rPr lang="sv-SE" b="1" dirty="0"/>
              <a:t> </a:t>
            </a:r>
            <a:r>
              <a:rPr lang="sv-SE" b="1" dirty="0" err="1"/>
              <a:t>update</a:t>
            </a:r>
            <a:r>
              <a:rPr lang="sv-SE" dirty="0"/>
              <a:t>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8D40B9-25D0-7E42-B8C7-8DB991785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ffic</a:t>
            </a:r>
            <a:r>
              <a:rPr lang="sv-SE" dirty="0"/>
              <a:t> </a:t>
            </a:r>
            <a:r>
              <a:rPr lang="sv-SE" dirty="0" err="1"/>
              <a:t>Engineering</a:t>
            </a:r>
            <a:r>
              <a:rPr lang="sv-SE" dirty="0"/>
              <a:t> (TE) :</a:t>
            </a:r>
            <a:br>
              <a:rPr lang="sv-SE" dirty="0"/>
            </a:br>
            <a:r>
              <a:rPr lang="sv-SE" dirty="0" err="1"/>
              <a:t>balance</a:t>
            </a:r>
            <a:r>
              <a:rPr lang="sv-SE" dirty="0"/>
              <a:t> </a:t>
            </a:r>
            <a:r>
              <a:rPr lang="sv-SE" dirty="0" err="1"/>
              <a:t>flow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affic</a:t>
            </a:r>
            <a:r>
              <a:rPr lang="sv-SE" dirty="0"/>
              <a:t> in a </a:t>
            </a:r>
            <a:r>
              <a:rPr lang="sv-SE" dirty="0" err="1"/>
              <a:t>network</a:t>
            </a:r>
            <a:endParaRPr lang="sv-S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BC750F-8BAD-5149-BDE0-265096A1C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652378-81A7-A346-88F8-44E4A0474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19249" y="6463284"/>
            <a:ext cx="6864993" cy="365125"/>
          </a:xfrm>
        </p:spPr>
        <p:txBody>
          <a:bodyPr/>
          <a:lstStyle/>
          <a:p>
            <a:r>
              <a:rPr lang="en" i="1" dirty="0"/>
              <a:t>* </a:t>
            </a:r>
            <a:r>
              <a:rPr lang="sv-SE" i="1" dirty="0"/>
              <a:t>A. </a:t>
            </a:r>
            <a:r>
              <a:rPr lang="sv-SE" i="1" dirty="0" err="1"/>
              <a:t>Pathak</a:t>
            </a:r>
            <a:r>
              <a:rPr lang="sv-SE" i="1" dirty="0"/>
              <a:t> et al ”</a:t>
            </a:r>
            <a:r>
              <a:rPr lang="en" i="1" dirty="0"/>
              <a:t>Latency Inflation with MPLS-based Traffic Engineering” IMC 2011</a:t>
            </a:r>
            <a:endParaRPr lang="sv-SE" i="1" dirty="0"/>
          </a:p>
        </p:txBody>
      </p:sp>
    </p:spTree>
    <p:extLst>
      <p:ext uri="{BB962C8B-B14F-4D97-AF65-F5344CB8AC3E}">
        <p14:creationId xmlns:p14="http://schemas.microsoft.com/office/powerpoint/2010/main" val="1298042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KTH_with colours and grafs</Template>
  <TotalTime>4911</TotalTime>
  <Words>1759</Words>
  <Application>Microsoft Macintosh PowerPoint</Application>
  <PresentationFormat>On-screen Show (4:3)</PresentationFormat>
  <Paragraphs>471</Paragraphs>
  <Slides>45</Slides>
  <Notes>0</Notes>
  <HiddenSlides>9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2" baseType="lpstr">
      <vt:lpstr>Arial</vt:lpstr>
      <vt:lpstr>Calibri</vt:lpstr>
      <vt:lpstr>Cambria Math</vt:lpstr>
      <vt:lpstr>Times New Roman</vt:lpstr>
      <vt:lpstr>Wingdings</vt:lpstr>
      <vt:lpstr>Template_KTH_with colours and grafs</vt:lpstr>
      <vt:lpstr>think-cell Slide</vt:lpstr>
      <vt:lpstr>Internet clouds are (also) unpredictable!</vt:lpstr>
      <vt:lpstr>Let’s open a TCP connection between  Oregon and Virginia</vt:lpstr>
      <vt:lpstr>Stable Round Trip Time latency of roughly 80ms</vt:lpstr>
      <vt:lpstr>We open a second connection: Up to 10% better latency!</vt:lpstr>
      <vt:lpstr>We open a third connection: Unstable and worse latency!</vt:lpstr>
      <vt:lpstr>Insight #1: Flows experiences path changes at a second-level time scales</vt:lpstr>
      <vt:lpstr>Insight #2:  Flows experience unfair performance</vt:lpstr>
      <vt:lpstr>Why do we see so many different latency behaviours?</vt:lpstr>
      <vt:lpstr>Traffic Engineering (TE) : balance flows of traffic in a network</vt:lpstr>
      <vt:lpstr>Stateless hash-based traffic splitting: packets belonging to the same connection may be rerouted when traffic splitting ratios are modified</vt:lpstr>
      <vt:lpstr>Stateless hash-based traffic splitting: packets belonging to the same connection may be rerouted when traffic splitting ratios are modified</vt:lpstr>
      <vt:lpstr>Let’s open a new connection and dissect it: latency = base propagation latency + congestion</vt:lpstr>
      <vt:lpstr>The technical yet necessary part (bear with me): Extracting base propagation latency</vt:lpstr>
      <vt:lpstr>PowerPoint Presentation</vt:lpstr>
      <vt:lpstr>Key intuition: a path change from a high to a low latency path causes packet reordering</vt:lpstr>
      <vt:lpstr>The path change detector is accurate  and conservative</vt:lpstr>
      <vt:lpstr>We can now detect path changes We set up an extensive measurement study of AWS</vt:lpstr>
      <vt:lpstr>Some AWS regions have high latency variations across different flows (i.e., different source ports)</vt:lpstr>
      <vt:lpstr>The flow-latency spectrum over time for four different pairs of regions</vt:lpstr>
      <vt:lpstr>Stable distribution but… are the flows routed always on the same path? Not necessarily!</vt:lpstr>
      <vt:lpstr>Flows routes on low-latency paths are more likely to experience a path change</vt:lpstr>
      <vt:lpstr>Measuring the level of ”unfairness” among flows</vt:lpstr>
      <vt:lpstr>Measuring instabilities during ”low” or ”high” season</vt:lpstr>
      <vt:lpstr>Moving 1K of data can take 18% more time when the flow is mapped to a high latency path</vt:lpstr>
      <vt:lpstr>Conclusions and takeaway </vt:lpstr>
      <vt:lpstr>Selfish routing: giving control to the cloud tenants may lead to an unhealthy situation</vt:lpstr>
      <vt:lpstr>Selfish routing: giving control to the cloud tenants may lead to an unhealthy situation</vt:lpstr>
      <vt:lpstr>Traffic Engineering (TE) performed to (re)balance flows of traffic in a network</vt:lpstr>
      <vt:lpstr>What’s the theory behind TE-based routing reconfigurations?</vt:lpstr>
      <vt:lpstr>Flow path change interarrival time</vt:lpstr>
      <vt:lpstr>Flow persistence – forward path</vt:lpstr>
      <vt:lpstr>Flow persistence –reverse path</vt:lpstr>
      <vt:lpstr>Traffic Engineering (TE) performed to (re)balance flows of traffic in a network</vt:lpstr>
      <vt:lpstr>Traffic Engineering (TE) performed to (re)balance flows of traffic in a network</vt:lpstr>
      <vt:lpstr>Traffic Engineering (TE) performed to (re)balance flows of traffic in a network</vt:lpstr>
      <vt:lpstr>Traffic Engineering (TE) performed to (re)balance flows of traffic in a network</vt:lpstr>
      <vt:lpstr>The “tragedy of the commons” in the cloud era</vt:lpstr>
      <vt:lpstr>The “tragedy of the commons” in the cloud era</vt:lpstr>
      <vt:lpstr>The “tragedy of the commons” in the cloud era: a possibly unhealthy incentive to defeat cloud TE</vt:lpstr>
      <vt:lpstr>The “tragedy of the commons” in the cloud era: what if the cloud reacts by changing the ?</vt:lpstr>
      <vt:lpstr>The “tragedy of the commons” in the cloud era: what if the cloud reacts by changing the ?</vt:lpstr>
      <vt:lpstr>The “tragedy of the commons” in the cloud era: what if the cloud reacts by changing the ?</vt:lpstr>
      <vt:lpstr>The “tragedy of the commons” in the cloud era: what if the cloud reacts by changing the ?</vt:lpstr>
      <vt:lpstr>Stable distribution but… are the flows routed always on the same path? Not necessarily!</vt:lpstr>
      <vt:lpstr>This talk in a nutshel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versing a Cloud </dc:title>
  <dc:creator>Marco Chiesa</dc:creator>
  <cp:lastModifiedBy>Marco Chiesa</cp:lastModifiedBy>
  <cp:revision>150</cp:revision>
  <cp:lastPrinted>2019-10-15T10:35:56Z</cp:lastPrinted>
  <dcterms:created xsi:type="dcterms:W3CDTF">2019-03-02T10:53:19Z</dcterms:created>
  <dcterms:modified xsi:type="dcterms:W3CDTF">2019-10-15T10:36:03Z</dcterms:modified>
</cp:coreProperties>
</file>